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4" r:id="rId3"/>
  </p:sldMasterIdLst>
  <p:notesMasterIdLst>
    <p:notesMasterId r:id="rId9"/>
  </p:notesMasterIdLst>
  <p:sldIdLst>
    <p:sldId id="276" r:id="rId4"/>
    <p:sldId id="273" r:id="rId5"/>
    <p:sldId id="274" r:id="rId6"/>
    <p:sldId id="266" r:id="rId7"/>
    <p:sldId id="275" r:id="rId8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C80"/>
    <a:srgbClr val="9C1D0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832" autoAdjust="0"/>
    <p:restoredTop sz="94660"/>
  </p:normalViewPr>
  <p:slideViewPr>
    <p:cSldViewPr snapToGrid="0">
      <p:cViewPr>
        <p:scale>
          <a:sx n="100" d="100"/>
          <a:sy n="100" d="100"/>
        </p:scale>
        <p:origin x="-1254" y="-46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viewProps" Target="viewProps.xml"/><Relationship Id="rId5" Type="http://schemas.openxmlformats.org/officeDocument/2006/relationships/slide" Target="slides/slide2.xml"/><Relationship Id="rId10" Type="http://schemas.openxmlformats.org/officeDocument/2006/relationships/presProps" Target="presProps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F2F748-2059-41F1-AB26-90FB863F382C}" type="datetimeFigureOut">
              <a:rPr lang="ru-RU" smtClean="0"/>
              <a:t>16.06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10B3A3-2F46-4077-BAF2-1E494250CEB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0825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jp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5CD0D-C46E-41D7-B6B8-26B558546E6B}" type="datetimeFigureOut">
              <a:rPr lang="ru-RU" smtClean="0"/>
              <a:t>16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4DF1EC-1F78-446B-A549-F668025C4D2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76763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5CD0D-C46E-41D7-B6B8-26B558546E6B}" type="datetimeFigureOut">
              <a:rPr lang="ru-RU" smtClean="0"/>
              <a:t>16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4DF1EC-1F78-446B-A549-F668025C4D2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48074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5CD0D-C46E-41D7-B6B8-26B558546E6B}" type="datetimeFigureOut">
              <a:rPr lang="ru-RU" smtClean="0"/>
              <a:t>16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4DF1EC-1F78-446B-A549-F668025C4D2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307813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7510849"/>
              </p:ext>
            </p:extLst>
          </p:nvPr>
        </p:nvGraphicFramePr>
        <p:xfrm>
          <a:off x="2162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2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2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-1353"/>
            <a:ext cx="12192000" cy="68607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622676" y="349867"/>
            <a:ext cx="121668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b="1" smtClean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622675" y="508600"/>
            <a:ext cx="3759042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</a:rPr>
              <a:t>Last Modified 7/4/2016 1:33 PM Central Asia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622676" y="668959"/>
            <a:ext cx="3446456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100" smtClean="0">
                <a:solidFill>
                  <a:srgbClr val="000000"/>
                </a:solidFill>
                <a:latin typeface="Arial"/>
              </a:rPr>
              <a:t>Printed 6/22/2016 4:12 PM Central Asia Standard Time</a:t>
            </a:r>
          </a:p>
        </p:txBody>
      </p: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622676" y="1971838"/>
            <a:ext cx="5862445" cy="1200329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3900" b="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622676" y="3805361"/>
            <a:ext cx="5862445" cy="261610"/>
          </a:xfrm>
        </p:spPr>
        <p:txBody>
          <a:bodyPr wrap="square">
            <a:spAutoFit/>
          </a:bodyPr>
          <a:lstStyle>
            <a:lvl1pPr>
              <a:defRPr sz="1700" baseline="0"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grpSp>
        <p:nvGrpSpPr>
          <p:cNvPr id="13" name="McK Title Elements" hidden="1"/>
          <p:cNvGrpSpPr>
            <a:grpSpLocks/>
          </p:cNvGrpSpPr>
          <p:nvPr userDrawn="1"/>
        </p:nvGrpSpPr>
        <p:grpSpPr bwMode="auto">
          <a:xfrm>
            <a:off x="622676" y="4693170"/>
            <a:ext cx="5862445" cy="2054688"/>
            <a:chOff x="537729" y="4541542"/>
            <a:chExt cx="5121275" cy="2013784"/>
          </a:xfrm>
        </p:grpSpPr>
        <p:sp>
          <p:nvSpPr>
            <p:cNvPr id="14" name="McK Document type"/>
            <p:cNvSpPr txBox="1">
              <a:spLocks noChangeArrowheads="1"/>
            </p:cNvSpPr>
            <p:nvPr/>
          </p:nvSpPr>
          <p:spPr bwMode="auto">
            <a:xfrm>
              <a:off x="537729" y="4541542"/>
              <a:ext cx="4935539" cy="2564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5" name="McK Date"/>
            <p:cNvSpPr txBox="1">
              <a:spLocks noChangeArrowheads="1"/>
            </p:cNvSpPr>
            <p:nvPr/>
          </p:nvSpPr>
          <p:spPr bwMode="auto">
            <a:xfrm>
              <a:off x="537729" y="4850332"/>
              <a:ext cx="4935539" cy="25640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70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6" name="McK Disclaimer"/>
            <p:cNvSpPr>
              <a:spLocks noChangeArrowheads="1"/>
            </p:cNvSpPr>
            <p:nvPr/>
          </p:nvSpPr>
          <p:spPr bwMode="auto">
            <a:xfrm>
              <a:off x="537729" y="6404502"/>
              <a:ext cx="5121275" cy="15082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977587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000000"/>
                  </a:solidFill>
                </a:rPr>
                <a:t>CONFIDENTIAL AND </a:t>
              </a:r>
              <a:r>
                <a:rPr lang="en-US" sz="1000" dirty="0" smtClean="0">
                  <a:solidFill>
                    <a:srgbClr val="000000"/>
                  </a:solidFill>
                </a:rPr>
                <a:t>PROPRIETARY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</p:grpSp>
      <p:sp>
        <p:nvSpPr>
          <p:cNvPr id="19" name="doc id"/>
          <p:cNvSpPr>
            <a:spLocks noChangeArrowheads="1"/>
          </p:cNvSpPr>
          <p:nvPr userDrawn="1"/>
        </p:nvSpPr>
        <p:spPr bwMode="auto">
          <a:xfrm>
            <a:off x="11064592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87377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7698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3260" y="234865"/>
            <a:ext cx="11725485" cy="353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7379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59143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5CD0D-C46E-41D7-B6B8-26B558546E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4DF1EC-1F78-446B-A549-F668025C4D2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599736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5CD0D-C46E-41D7-B6B8-26B558546E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4DF1EC-1F78-446B-A549-F668025C4D2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11982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5CD0D-C46E-41D7-B6B8-26B558546E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4DF1EC-1F78-446B-A549-F668025C4D2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436925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5CD0D-C46E-41D7-B6B8-26B558546E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4DF1EC-1F78-446B-A549-F668025C4D2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138385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5CD0D-C46E-41D7-B6B8-26B558546E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4DF1EC-1F78-446B-A549-F668025C4D2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5526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5CD0D-C46E-41D7-B6B8-26B558546E6B}" type="datetimeFigureOut">
              <a:rPr lang="ru-RU" smtClean="0"/>
              <a:t>16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4DF1EC-1F78-446B-A549-F668025C4D2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74840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5CD0D-C46E-41D7-B6B8-26B558546E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4DF1EC-1F78-446B-A549-F668025C4D2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1565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5CD0D-C46E-41D7-B6B8-26B558546E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4DF1EC-1F78-446B-A549-F668025C4D2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44705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5CD0D-C46E-41D7-B6B8-26B558546E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4DF1EC-1F78-446B-A549-F668025C4D2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9132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5CD0D-C46E-41D7-B6B8-26B558546E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4DF1EC-1F78-446B-A549-F668025C4D2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03252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5CD0D-C46E-41D7-B6B8-26B558546E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4DF1EC-1F78-446B-A549-F668025C4D2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45171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1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1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5CD0D-C46E-41D7-B6B8-26B558546E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4DF1EC-1F78-446B-A549-F668025C4D2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10494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49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49" y="4589465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5CD0D-C46E-41D7-B6B8-26B558546E6B}" type="datetimeFigureOut">
              <a:rPr lang="ru-RU" smtClean="0"/>
              <a:t>16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4DF1EC-1F78-446B-A549-F668025C4D2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17345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5CD0D-C46E-41D7-B6B8-26B558546E6B}" type="datetimeFigureOut">
              <a:rPr lang="ru-RU" smtClean="0"/>
              <a:t>16.06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4DF1EC-1F78-446B-A549-F668025C4D2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15521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5CD0D-C46E-41D7-B6B8-26B558546E6B}" type="datetimeFigureOut">
              <a:rPr lang="ru-RU" smtClean="0"/>
              <a:t>16.06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4DF1EC-1F78-446B-A549-F668025C4D2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70319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5CD0D-C46E-41D7-B6B8-26B558546E6B}" type="datetimeFigureOut">
              <a:rPr lang="ru-RU" smtClean="0"/>
              <a:t>16.06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4DF1EC-1F78-446B-A549-F668025C4D2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621972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5CD0D-C46E-41D7-B6B8-26B558546E6B}" type="datetimeFigureOut">
              <a:rPr lang="ru-RU" smtClean="0"/>
              <a:t>16.06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4DF1EC-1F78-446B-A549-F668025C4D2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10470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5CD0D-C46E-41D7-B6B8-26B558546E6B}" type="datetimeFigureOut">
              <a:rPr lang="ru-RU" smtClean="0"/>
              <a:t>16.06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4DF1EC-1F78-446B-A549-F668025C4D2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134340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E5CD0D-C46E-41D7-B6B8-26B558546E6B}" type="datetimeFigureOut">
              <a:rPr lang="ru-RU" smtClean="0"/>
              <a:t>16.06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4DF1EC-1F78-446B-A549-F668025C4D2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7211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13" Type="http://schemas.openxmlformats.org/officeDocument/2006/relationships/tags" Target="../tags/tag8.xml"/><Relationship Id="rId18" Type="http://schemas.openxmlformats.org/officeDocument/2006/relationships/tags" Target="../tags/tag13.xml"/><Relationship Id="rId3" Type="http://schemas.openxmlformats.org/officeDocument/2006/relationships/slideLayout" Target="../slideLayouts/slideLayout14.xml"/><Relationship Id="rId21" Type="http://schemas.openxmlformats.org/officeDocument/2006/relationships/tags" Target="../tags/tag16.xml"/><Relationship Id="rId7" Type="http://schemas.openxmlformats.org/officeDocument/2006/relationships/tags" Target="../tags/tag2.xml"/><Relationship Id="rId12" Type="http://schemas.openxmlformats.org/officeDocument/2006/relationships/tags" Target="../tags/tag7.xml"/><Relationship Id="rId17" Type="http://schemas.openxmlformats.org/officeDocument/2006/relationships/tags" Target="../tags/tag12.xml"/><Relationship Id="rId2" Type="http://schemas.openxmlformats.org/officeDocument/2006/relationships/slideLayout" Target="../slideLayouts/slideLayout13.xml"/><Relationship Id="rId16" Type="http://schemas.openxmlformats.org/officeDocument/2006/relationships/tags" Target="../tags/tag11.xml"/><Relationship Id="rId20" Type="http://schemas.openxmlformats.org/officeDocument/2006/relationships/tags" Target="../tags/tag15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1.xml"/><Relationship Id="rId11" Type="http://schemas.openxmlformats.org/officeDocument/2006/relationships/tags" Target="../tags/tag6.xml"/><Relationship Id="rId5" Type="http://schemas.openxmlformats.org/officeDocument/2006/relationships/vmlDrawing" Target="../drawings/vmlDrawing1.vml"/><Relationship Id="rId15" Type="http://schemas.openxmlformats.org/officeDocument/2006/relationships/tags" Target="../tags/tag10.xml"/><Relationship Id="rId23" Type="http://schemas.openxmlformats.org/officeDocument/2006/relationships/image" Target="../media/image1.emf"/><Relationship Id="rId10" Type="http://schemas.openxmlformats.org/officeDocument/2006/relationships/tags" Target="../tags/tag5.xml"/><Relationship Id="rId19" Type="http://schemas.openxmlformats.org/officeDocument/2006/relationships/tags" Target="../tags/tag14.xml"/><Relationship Id="rId4" Type="http://schemas.openxmlformats.org/officeDocument/2006/relationships/theme" Target="../theme/theme2.xml"/><Relationship Id="rId9" Type="http://schemas.openxmlformats.org/officeDocument/2006/relationships/tags" Target="../tags/tag4.xml"/><Relationship Id="rId14" Type="http://schemas.openxmlformats.org/officeDocument/2006/relationships/tags" Target="../tags/tag9.xml"/><Relationship Id="rId22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E5CD0D-C46E-41D7-B6B8-26B558546E6B}" type="datetimeFigureOut">
              <a:rPr lang="ru-RU" smtClean="0"/>
              <a:t>16.06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4DF1EC-1F78-446B-A549-F668025C4D2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8473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126394343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11064592" y="37255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1087377" fontAlgn="base">
              <a:spcBef>
                <a:spcPct val="0"/>
              </a:spcBef>
              <a:spcAft>
                <a:spcPct val="0"/>
              </a:spcAft>
            </a:pP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0898727" y="1973252"/>
            <a:ext cx="2396490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Last Modified 7/4/2016 1:33 PM Central Asia Standard Time</a:t>
            </a:r>
            <a:endParaRPr lang="en-US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0998914" y="4191232"/>
            <a:ext cx="2196114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smtClean="0">
                <a:solidFill>
                  <a:srgbClr val="000000"/>
                </a:solidFill>
                <a:latin typeface="Arial"/>
              </a:rPr>
              <a:t>Printed 6/22/2016 4:12 PM Central Asia Standard Time</a:t>
            </a:r>
            <a:endParaRPr lang="en-US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3124132" y="2570859"/>
            <a:ext cx="5853024" cy="1461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3260" y="234865"/>
            <a:ext cx="11725485" cy="3539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233259" y="17818"/>
            <a:ext cx="1041952" cy="2616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7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228995" y="542617"/>
            <a:ext cx="1172548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9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3124132" y="1911463"/>
            <a:ext cx="5801189" cy="602545"/>
            <a:chOff x="915" y="658"/>
            <a:chExt cx="2686" cy="37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58"/>
              <a:ext cx="2686" cy="37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b="1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9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auto">
          <a:xfrm>
            <a:off x="10919882" y="290477"/>
            <a:ext cx="989182" cy="1060934"/>
            <a:chOff x="4936" y="176"/>
            <a:chExt cx="458" cy="655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98" cy="1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87377" fontAlgn="base">
                <a:spcBef>
                  <a:spcPct val="0"/>
                </a:spcBef>
                <a:spcAft>
                  <a:spcPct val="0"/>
                </a:spcAft>
                <a:buClr>
                  <a:srgbClr val="00457E"/>
                </a:buClr>
              </a:pPr>
              <a:r>
                <a:rPr lang="en-US" sz="15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98" cy="1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87377" fontAlgn="base">
                <a:spcBef>
                  <a:spcPct val="0"/>
                </a:spcBef>
                <a:spcAft>
                  <a:spcPct val="0"/>
                </a:spcAft>
                <a:buClr>
                  <a:srgbClr val="00457E"/>
                </a:buClr>
              </a:pPr>
              <a:r>
                <a:rPr lang="en-US" sz="15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98" cy="1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87377" fontAlgn="base">
                <a:spcBef>
                  <a:spcPct val="0"/>
                </a:spcBef>
                <a:spcAft>
                  <a:spcPct val="0"/>
                </a:spcAft>
                <a:buClr>
                  <a:srgbClr val="00457E"/>
                </a:buClr>
              </a:pPr>
              <a:r>
                <a:rPr lang="en-US" sz="15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98" cy="1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87377" fontAlgn="base">
                <a:spcBef>
                  <a:spcPct val="0"/>
                </a:spcBef>
                <a:spcAft>
                  <a:spcPct val="0"/>
                </a:spcAft>
                <a:buClr>
                  <a:srgbClr val="00457E"/>
                </a:buClr>
              </a:pPr>
              <a:r>
                <a:rPr lang="en-US" sz="15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auto">
          <a:xfrm>
            <a:off x="10500887" y="290477"/>
            <a:ext cx="1408182" cy="788817"/>
            <a:chOff x="4750" y="176"/>
            <a:chExt cx="652" cy="487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900">
                <a:solidFill>
                  <a:srgbClr val="000000"/>
                </a:solidFill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98" cy="1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87377" fontAlgn="base">
                <a:spcBef>
                  <a:spcPct val="0"/>
                </a:spcBef>
                <a:spcAft>
                  <a:spcPct val="0"/>
                </a:spcAft>
                <a:buClr>
                  <a:srgbClr val="00457E"/>
                </a:buClr>
              </a:pPr>
              <a:r>
                <a:rPr lang="en-US" sz="15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98" cy="1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87377" fontAlgn="base">
                <a:spcBef>
                  <a:spcPct val="0"/>
                </a:spcBef>
                <a:spcAft>
                  <a:spcPct val="0"/>
                </a:spcAft>
                <a:buClr>
                  <a:srgbClr val="00457E"/>
                </a:buClr>
              </a:pPr>
              <a:r>
                <a:rPr lang="en-US" sz="15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98" cy="14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87377" fontAlgn="base">
                <a:spcBef>
                  <a:spcPct val="0"/>
                </a:spcBef>
                <a:spcAft>
                  <a:spcPct val="0"/>
                </a:spcAft>
                <a:buClr>
                  <a:srgbClr val="00457E"/>
                </a:buClr>
              </a:pPr>
              <a:r>
                <a:rPr lang="en-US" sz="15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9" name="McKSticker" hidden="1"/>
          <p:cNvGrpSpPr/>
          <p:nvPr/>
        </p:nvGrpSpPr>
        <p:grpSpPr bwMode="auto">
          <a:xfrm>
            <a:off x="10629657" y="290475"/>
            <a:ext cx="1329082" cy="258532"/>
            <a:chOff x="7763865" y="285750"/>
            <a:chExt cx="976910" cy="253385"/>
          </a:xfrm>
        </p:grpSpPr>
        <p:sp>
          <p:nvSpPr>
            <p:cNvPr id="40" name="StickerRectangle"/>
            <p:cNvSpPr>
              <a:spLocks noChangeArrowheads="1"/>
            </p:cNvSpPr>
            <p:nvPr/>
          </p:nvSpPr>
          <p:spPr bwMode="auto">
            <a:xfrm>
              <a:off x="7763865" y="285750"/>
              <a:ext cx="976910" cy="25338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1087377" fontAlgn="base">
                <a:spcBef>
                  <a:spcPct val="0"/>
                </a:spcBef>
                <a:spcAft>
                  <a:spcPct val="0"/>
                </a:spcAft>
                <a:buClr>
                  <a:srgbClr val="00457E"/>
                </a:buClr>
              </a:pPr>
              <a:r>
                <a:rPr lang="en-US" sz="15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1" name="AutoShape 31"/>
            <p:cNvCxnSpPr>
              <a:cxnSpLocks noChangeShapeType="1"/>
              <a:stCxn id="40" idx="2"/>
              <a:endCxn id="40" idx="4"/>
            </p:cNvCxnSpPr>
            <p:nvPr/>
          </p:nvCxnSpPr>
          <p:spPr bwMode="auto">
            <a:xfrm>
              <a:off x="7763865" y="285750"/>
              <a:ext cx="0" cy="253385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32"/>
            <p:cNvCxnSpPr>
              <a:cxnSpLocks noChangeShapeType="1"/>
              <a:stCxn id="40" idx="4"/>
              <a:endCxn id="40" idx="6"/>
            </p:cNvCxnSpPr>
            <p:nvPr/>
          </p:nvCxnSpPr>
          <p:spPr bwMode="auto">
            <a:xfrm>
              <a:off x="7763865" y="539135"/>
              <a:ext cx="97691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4" name="LegendMoons" hidden="1"/>
          <p:cNvGrpSpPr/>
          <p:nvPr/>
        </p:nvGrpSpPr>
        <p:grpSpPr bwMode="auto">
          <a:xfrm>
            <a:off x="10828940" y="290477"/>
            <a:ext cx="1080684" cy="1363037"/>
            <a:chOff x="7769225" y="2105025"/>
            <a:chExt cx="794331" cy="1335902"/>
          </a:xfrm>
        </p:grpSpPr>
        <p:grpSp>
          <p:nvGrpSpPr>
            <p:cNvPr id="65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83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84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6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81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82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7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79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68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77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8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69" name="Legend1"/>
            <p:cNvSpPr>
              <a:spLocks noChangeArrowheads="1"/>
            </p:cNvSpPr>
            <p:nvPr/>
          </p:nvSpPr>
          <p:spPr bwMode="auto">
            <a:xfrm>
              <a:off x="8089900" y="2117725"/>
              <a:ext cx="473656" cy="226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87377" fontAlgn="base">
                <a:spcBef>
                  <a:spcPct val="0"/>
                </a:spcBef>
                <a:spcAft>
                  <a:spcPct val="0"/>
                </a:spcAft>
                <a:buClr>
                  <a:srgbClr val="00457E"/>
                </a:buClr>
              </a:pPr>
              <a:r>
                <a:rPr lang="en-US" sz="15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0" name="Legend2"/>
            <p:cNvSpPr>
              <a:spLocks noChangeArrowheads="1"/>
            </p:cNvSpPr>
            <p:nvPr/>
          </p:nvSpPr>
          <p:spPr bwMode="auto">
            <a:xfrm>
              <a:off x="8089900" y="2392363"/>
              <a:ext cx="473656" cy="226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87377" fontAlgn="base">
                <a:spcBef>
                  <a:spcPct val="0"/>
                </a:spcBef>
                <a:spcAft>
                  <a:spcPct val="0"/>
                </a:spcAft>
                <a:buClr>
                  <a:srgbClr val="00457E"/>
                </a:buClr>
              </a:pPr>
              <a:r>
                <a:rPr lang="en-US" sz="15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1" name="Legend3"/>
            <p:cNvSpPr>
              <a:spLocks noChangeArrowheads="1"/>
            </p:cNvSpPr>
            <p:nvPr/>
          </p:nvSpPr>
          <p:spPr bwMode="auto">
            <a:xfrm>
              <a:off x="8089900" y="2667002"/>
              <a:ext cx="473656" cy="226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87377" fontAlgn="base">
                <a:spcBef>
                  <a:spcPct val="0"/>
                </a:spcBef>
                <a:spcAft>
                  <a:spcPct val="0"/>
                </a:spcAft>
                <a:buClr>
                  <a:srgbClr val="00457E"/>
                </a:buClr>
              </a:pPr>
              <a:r>
                <a:rPr lang="en-US" sz="15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2" name="Legend4"/>
            <p:cNvSpPr>
              <a:spLocks noChangeArrowheads="1"/>
            </p:cNvSpPr>
            <p:nvPr/>
          </p:nvSpPr>
          <p:spPr bwMode="auto">
            <a:xfrm>
              <a:off x="8089900" y="2938465"/>
              <a:ext cx="473656" cy="226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87377" fontAlgn="base">
                <a:spcBef>
                  <a:spcPct val="0"/>
                </a:spcBef>
                <a:spcAft>
                  <a:spcPct val="0"/>
                </a:spcAft>
                <a:buClr>
                  <a:srgbClr val="00457E"/>
                </a:buClr>
              </a:pPr>
              <a:r>
                <a:rPr lang="en-US" sz="15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73" name="Legend5"/>
            <p:cNvSpPr>
              <a:spLocks noChangeArrowheads="1"/>
            </p:cNvSpPr>
            <p:nvPr/>
          </p:nvSpPr>
          <p:spPr bwMode="auto">
            <a:xfrm>
              <a:off x="8089900" y="3214690"/>
              <a:ext cx="473656" cy="22623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1087377" fontAlgn="base">
                <a:spcBef>
                  <a:spcPct val="0"/>
                </a:spcBef>
                <a:spcAft>
                  <a:spcPct val="0"/>
                </a:spcAft>
                <a:buClr>
                  <a:srgbClr val="00457E"/>
                </a:buClr>
              </a:pPr>
              <a:r>
                <a:rPr lang="en-US" sz="15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74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75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  <p:sp>
            <p:nvSpPr>
              <p:cNvPr id="76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900">
                  <a:solidFill>
                    <a:srgbClr val="000000"/>
                  </a:solidFill>
                </a:endParaRPr>
              </a:p>
            </p:txBody>
          </p:sp>
        </p:grpSp>
      </p:grpSp>
      <p:grpSp>
        <p:nvGrpSpPr>
          <p:cNvPr id="58" name="McK Slide Elements" hidden="1"/>
          <p:cNvGrpSpPr>
            <a:grpSpLocks/>
          </p:cNvGrpSpPr>
          <p:nvPr/>
        </p:nvGrpSpPr>
        <p:grpSpPr bwMode="auto">
          <a:xfrm>
            <a:off x="230052" y="6386139"/>
            <a:ext cx="11728691" cy="379021"/>
            <a:chOff x="73" y="3916"/>
            <a:chExt cx="5371" cy="234"/>
          </a:xfrm>
        </p:grpSpPr>
        <p:sp>
          <p:nvSpPr>
            <p:cNvPr id="59" name="McK 4. Footnote"/>
            <p:cNvSpPr txBox="1">
              <a:spLocks noChangeArrowheads="1"/>
            </p:cNvSpPr>
            <p:nvPr/>
          </p:nvSpPr>
          <p:spPr bwMode="auto">
            <a:xfrm>
              <a:off x="73" y="3916"/>
              <a:ext cx="5371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2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60" name="McK 5. Source"/>
            <p:cNvSpPr>
              <a:spLocks noChangeArrowheads="1"/>
            </p:cNvSpPr>
            <p:nvPr/>
          </p:nvSpPr>
          <p:spPr bwMode="auto">
            <a:xfrm>
              <a:off x="75" y="4036"/>
              <a:ext cx="5052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570741" indent="-570741" defTabSz="1087377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 smtClean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sp>
        <p:nvSpPr>
          <p:cNvPr id="57" name="Slide Number"/>
          <p:cNvSpPr txBox="1">
            <a:spLocks/>
          </p:cNvSpPr>
          <p:nvPr/>
        </p:nvSpPr>
        <p:spPr bwMode="auto">
          <a:xfrm>
            <a:off x="11801650" y="660970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US" sz="10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151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303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454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607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5758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2909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061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212" algn="l" defTabSz="914303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fld id="{42C328C1-A84F-4A39-A664-DBA00541A8C6}" type="slidenum">
              <a:rPr>
                <a:solidFill>
                  <a:srgbClr val="000000"/>
                </a:solidFill>
              </a:rPr>
              <a:pPr/>
              <a:t>‹#›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4620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marL="428827" indent="0" algn="l" defTabSz="1087377" rtl="0" eaLnBrk="1" fontAlgn="base" hangingPunct="1">
        <a:spcBef>
          <a:spcPct val="0"/>
        </a:spcBef>
        <a:spcAft>
          <a:spcPct val="0"/>
        </a:spcAft>
        <a:tabLst>
          <a:tab pos="327755" algn="l"/>
        </a:tabLst>
        <a:defRPr sz="23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1087377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2pPr>
      <a:lvl3pPr algn="l" defTabSz="1087377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3pPr>
      <a:lvl4pPr algn="l" defTabSz="1087377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4pPr>
      <a:lvl5pPr algn="l" defTabSz="1087377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5pPr>
      <a:lvl6pPr marL="555256" algn="l" defTabSz="1087377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6pPr>
      <a:lvl7pPr marL="1110512" algn="l" defTabSz="1087377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7pPr>
      <a:lvl8pPr marL="1665768" algn="l" defTabSz="1087377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8pPr>
      <a:lvl9pPr marL="2221026" algn="l" defTabSz="1087377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1087377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900" baseline="0">
          <a:solidFill>
            <a:schemeClr val="tx1"/>
          </a:solidFill>
          <a:latin typeface="+mn-lt"/>
          <a:ea typeface="+mn-ea"/>
          <a:cs typeface="+mn-cs"/>
        </a:defRPr>
      </a:lvl1pPr>
      <a:lvl2pPr marL="235213" indent="-233285" algn="l" defTabSz="10873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900" baseline="0">
          <a:solidFill>
            <a:schemeClr val="tx1"/>
          </a:solidFill>
          <a:latin typeface="+mn-lt"/>
        </a:defRPr>
      </a:lvl2pPr>
      <a:lvl3pPr marL="555256" indent="-318116" algn="l" defTabSz="10873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900" baseline="0">
          <a:solidFill>
            <a:schemeClr val="tx1"/>
          </a:solidFill>
          <a:latin typeface="+mn-lt"/>
        </a:defRPr>
      </a:lvl3pPr>
      <a:lvl4pPr marL="746126" indent="-188941" algn="l" defTabSz="10873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900" baseline="0">
          <a:solidFill>
            <a:schemeClr val="tx1"/>
          </a:solidFill>
          <a:latin typeface="+mn-lt"/>
        </a:defRPr>
      </a:lvl4pPr>
      <a:lvl5pPr marL="910620" indent="-158095" algn="l" defTabSz="10873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5pPr>
      <a:lvl6pPr marL="910620" indent="-158095" algn="l" defTabSz="10873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6pPr>
      <a:lvl7pPr marL="910620" indent="-158095" algn="l" defTabSz="10873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7pPr>
      <a:lvl8pPr marL="910620" indent="-158095" algn="l" defTabSz="10873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8pPr>
      <a:lvl9pPr marL="910620" indent="-158095" algn="l" defTabSz="1087377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9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11051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55256" algn="l" defTabSz="111051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1110512" algn="l" defTabSz="111051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665768" algn="l" defTabSz="111051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4pPr>
      <a:lvl5pPr marL="2221026" algn="l" defTabSz="111051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5pPr>
      <a:lvl6pPr marL="2776282" algn="l" defTabSz="111051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331537" algn="l" defTabSz="111051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886794" algn="l" defTabSz="111051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442050" algn="l" defTabSz="1110512" rtl="0" eaLnBrk="1" latinLnBrk="0" hangingPunct="1"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FE5CD0D-C46E-41D7-B6B8-26B558546E6B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16.06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4DF1EC-1F78-446B-A549-F668025C4D23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10619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0" r:id="rId6"/>
    <p:sldLayoutId id="2147483671" r:id="rId7"/>
    <p:sldLayoutId id="2147483672" r:id="rId8"/>
    <p:sldLayoutId id="2147483673" r:id="rId9"/>
    <p:sldLayoutId id="2147483674" r:id="rId10"/>
    <p:sldLayoutId id="214748367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7.png"/><Relationship Id="rId7" Type="http://schemas.openxmlformats.org/officeDocument/2006/relationships/image" Target="../media/image15.png"/><Relationship Id="rId12" Type="http://schemas.openxmlformats.org/officeDocument/2006/relationships/image" Target="../media/image19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11" Type="http://schemas.openxmlformats.org/officeDocument/2006/relationships/image" Target="../media/image18.png"/><Relationship Id="rId5" Type="http://schemas.openxmlformats.org/officeDocument/2006/relationships/image" Target="../media/image13.png"/><Relationship Id="rId10" Type="http://schemas.openxmlformats.org/officeDocument/2006/relationships/image" Target="../media/image11.png"/><Relationship Id="rId4" Type="http://schemas.openxmlformats.org/officeDocument/2006/relationships/image" Target="../media/image8.png"/><Relationship Id="rId9" Type="http://schemas.openxmlformats.org/officeDocument/2006/relationships/image" Target="../media/image1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7" y="0"/>
            <a:ext cx="12190863" cy="6858640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0" y="191193"/>
            <a:ext cx="12192000" cy="103077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prstClr val="white"/>
              </a:solidFill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78270" y="2776950"/>
            <a:ext cx="9235459" cy="2215901"/>
          </a:xfrm>
          <a:prstGeom prst="rect">
            <a:avLst/>
          </a:prstGeom>
        </p:spPr>
      </p:pic>
      <p:grpSp>
        <p:nvGrpSpPr>
          <p:cNvPr id="15" name="Группа 14"/>
          <p:cNvGrpSpPr/>
          <p:nvPr/>
        </p:nvGrpSpPr>
        <p:grpSpPr>
          <a:xfrm>
            <a:off x="682900" y="446475"/>
            <a:ext cx="11196680" cy="464686"/>
            <a:chOff x="682900" y="226969"/>
            <a:chExt cx="11196680" cy="464686"/>
          </a:xfrm>
        </p:grpSpPr>
        <p:pic>
          <p:nvPicPr>
            <p:cNvPr id="16" name="Picture 15"/>
            <p:cNvPicPr/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682900" y="227116"/>
              <a:ext cx="1528285" cy="46439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Рисунок 16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9711" y="227116"/>
              <a:ext cx="442384" cy="464393"/>
            </a:xfrm>
            <a:prstGeom prst="rect">
              <a:avLst/>
            </a:prstGeom>
          </p:spPr>
        </p:pic>
        <p:pic>
          <p:nvPicPr>
            <p:cNvPr id="18" name="Рисунок 2" descr="Описание: cid:image001.png@01D63842.54213DF0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78982" y="226969"/>
              <a:ext cx="554052" cy="46468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Прямоугольник 18"/>
            <p:cNvSpPr/>
            <p:nvPr/>
          </p:nvSpPr>
          <p:spPr>
            <a:xfrm>
              <a:off x="4172096" y="265158"/>
              <a:ext cx="3276108" cy="38830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100" b="1" dirty="0" smtClean="0">
                  <a:solidFill>
                    <a:srgbClr val="5B9BD5">
                      <a:lumMod val="50000"/>
                    </a:srgb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Ministry of National Economy of the Republic of Kazakhstan</a:t>
              </a:r>
              <a:endParaRPr lang="ru-RU" sz="1100" b="1" dirty="0">
                <a:solidFill>
                  <a:srgbClr val="5B9BD5">
                    <a:lumMod val="50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9033035" y="265158"/>
              <a:ext cx="2846545" cy="38830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ru-RU" sz="1100" b="1" dirty="0" smtClean="0">
                  <a:solidFill>
                    <a:srgbClr val="5B9BD5">
                      <a:lumMod val="50000"/>
                    </a:srgb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«</a:t>
              </a:r>
              <a:r>
                <a:rPr lang="en-US" sz="1100" b="1" dirty="0" smtClean="0">
                  <a:solidFill>
                    <a:srgbClr val="5B9BD5">
                      <a:lumMod val="50000"/>
                    </a:srgb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Economic Research Institute</a:t>
              </a:r>
              <a:r>
                <a:rPr lang="ru-RU" sz="1100" b="1" dirty="0" smtClean="0">
                  <a:solidFill>
                    <a:srgbClr val="5B9BD5">
                      <a:lumMod val="50000"/>
                    </a:srgb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»</a:t>
              </a:r>
              <a:r>
                <a:rPr lang="en-US" sz="1100" b="1" dirty="0" smtClean="0">
                  <a:solidFill>
                    <a:srgbClr val="5B9BD5">
                      <a:lumMod val="50000"/>
                    </a:srgb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 JSC</a:t>
              </a:r>
              <a:endParaRPr lang="ru-RU" sz="1100" b="1" dirty="0">
                <a:solidFill>
                  <a:srgbClr val="5B9BD5">
                    <a:lumMod val="50000"/>
                  </a:srgb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035813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2900" y="227116"/>
            <a:ext cx="1528285" cy="464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9711" y="227116"/>
            <a:ext cx="442384" cy="464393"/>
          </a:xfrm>
          <a:prstGeom prst="rect">
            <a:avLst/>
          </a:prstGeom>
        </p:spPr>
      </p:pic>
      <p:pic>
        <p:nvPicPr>
          <p:cNvPr id="7" name="Рисунок 2" descr="Описание: cid:image001.png@01D63842.54213DF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8982" y="226969"/>
            <a:ext cx="554052" cy="4646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" name="Прямая соединительная линия 9"/>
          <p:cNvCxnSpPr/>
          <p:nvPr/>
        </p:nvCxnSpPr>
        <p:spPr>
          <a:xfrm>
            <a:off x="0" y="914400"/>
            <a:ext cx="12192000" cy="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401782" y="1137146"/>
            <a:ext cx="1138843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400" b="1" u="sng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ational Contact </a:t>
            </a:r>
            <a:r>
              <a:rPr lang="en-US" sz="2400" b="1" u="sng" dirty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</a:t>
            </a:r>
            <a:r>
              <a:rPr lang="en-US" sz="2400" b="1" u="sng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ints </a:t>
            </a:r>
            <a:r>
              <a:rPr lang="ru-RU" sz="2400" b="1" u="sng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(</a:t>
            </a:r>
            <a:r>
              <a:rPr lang="en-US" sz="2400" b="1" u="sng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CP</a:t>
            </a:r>
            <a:r>
              <a:rPr lang="ru-RU" sz="2400" b="1" u="sng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 </a:t>
            </a:r>
            <a:r>
              <a:rPr lang="en-US" sz="2400" b="1" u="sng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 </a:t>
            </a:r>
            <a:r>
              <a:rPr lang="en-US" sz="2400" b="1" u="sng" dirty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ECD participating </a:t>
            </a:r>
            <a:r>
              <a:rPr lang="en-US" sz="2400" b="1" u="sng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untries </a:t>
            </a:r>
            <a:r>
              <a:rPr lang="ru-RU" sz="2400" b="1" u="sng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ru-RU" sz="2400" u="sng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algn="ctr"/>
            <a:r>
              <a:rPr lang="en-US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re organizations </a:t>
            </a:r>
            <a:r>
              <a:rPr lang="en-US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stablished for the purpose </a:t>
            </a:r>
            <a:r>
              <a:rPr lang="en-US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 further </a:t>
            </a:r>
            <a:r>
              <a:rPr lang="en-US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effectiveness of the </a:t>
            </a:r>
            <a:r>
              <a:rPr lang="en-US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ECD Guidelines for Multinational Enterprises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4599" y="2397484"/>
            <a:ext cx="489108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000" b="1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riteria for the functioning of a NCP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2" name="Овал 21"/>
          <p:cNvSpPr/>
          <p:nvPr/>
        </p:nvSpPr>
        <p:spPr>
          <a:xfrm>
            <a:off x="382799" y="2984268"/>
            <a:ext cx="756459" cy="756459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Овал 22"/>
          <p:cNvSpPr/>
          <p:nvPr/>
        </p:nvSpPr>
        <p:spPr>
          <a:xfrm>
            <a:off x="382799" y="3852947"/>
            <a:ext cx="756459" cy="756459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Овал 23"/>
          <p:cNvSpPr/>
          <p:nvPr/>
        </p:nvSpPr>
        <p:spPr>
          <a:xfrm>
            <a:off x="382799" y="4738255"/>
            <a:ext cx="756459" cy="756459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24"/>
          <p:cNvSpPr/>
          <p:nvPr/>
        </p:nvSpPr>
        <p:spPr>
          <a:xfrm>
            <a:off x="382799" y="5606934"/>
            <a:ext cx="756459" cy="756459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TextBox 25"/>
          <p:cNvSpPr txBox="1"/>
          <p:nvPr/>
        </p:nvSpPr>
        <p:spPr>
          <a:xfrm>
            <a:off x="1139258" y="3177831"/>
            <a:ext cx="1178528" cy="3693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isibility</a:t>
            </a:r>
            <a:endParaRPr lang="ru-RU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139258" y="4046510"/>
            <a:ext cx="1612942" cy="3693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cessibility</a:t>
            </a:r>
            <a:endParaRPr lang="ru-RU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139258" y="4931818"/>
            <a:ext cx="1752403" cy="3693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nsparency</a:t>
            </a:r>
            <a:endParaRPr lang="ru-RU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139258" y="5800497"/>
            <a:ext cx="1840568" cy="369332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r>
              <a:rPr lang="en-US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countability</a:t>
            </a:r>
            <a:endParaRPr lang="ru-RU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5566755" y="2445109"/>
            <a:ext cx="6223463" cy="26468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ECD Guidelines for Multinational Enterprises</a:t>
            </a:r>
          </a:p>
          <a:p>
            <a:endParaRPr lang="ru-RU" sz="2000" b="1" dirty="0" smtClean="0">
              <a:solidFill>
                <a:schemeClr val="accent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en-US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Guidelines aim to ensure that the operations of multinational enterprises are in harmony with government policies, to strengthen the basis of mutual confidence between enterprises and the societies, to </a:t>
            </a:r>
            <a:r>
              <a:rPr lang="en-US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elp to </a:t>
            </a:r>
            <a:r>
              <a:rPr lang="en-US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mprove the foreign investment climate and to enhance the contribution to sustainable development made by multinational enterprises.</a:t>
            </a:r>
            <a:endParaRPr lang="ru-RU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5045825" y="2518756"/>
            <a:ext cx="0" cy="4015048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Рисунок 3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461" y="3137519"/>
            <a:ext cx="397134" cy="397134"/>
          </a:xfrm>
          <a:prstGeom prst="rect">
            <a:avLst/>
          </a:prstGeom>
        </p:spPr>
      </p:pic>
      <p:pic>
        <p:nvPicPr>
          <p:cNvPr id="34" name="Рисунок 3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197" y="4027245"/>
            <a:ext cx="397663" cy="397663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874" y="4911330"/>
            <a:ext cx="410308" cy="410308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917" y="5769051"/>
            <a:ext cx="432223" cy="432223"/>
          </a:xfrm>
          <a:prstGeom prst="rect">
            <a:avLst/>
          </a:prstGeom>
        </p:spPr>
      </p:pic>
      <p:sp>
        <p:nvSpPr>
          <p:cNvPr id="31" name="Прямоугольник 30"/>
          <p:cNvSpPr/>
          <p:nvPr/>
        </p:nvSpPr>
        <p:spPr>
          <a:xfrm>
            <a:off x="4172096" y="265158"/>
            <a:ext cx="3276108" cy="3883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b="1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inistry of National Economy of the Republic of Kazakhstan</a:t>
            </a:r>
            <a:endParaRPr lang="ru-RU" sz="1100" b="1" dirty="0">
              <a:solidFill>
                <a:schemeClr val="accent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9033035" y="265158"/>
            <a:ext cx="2846545" cy="3883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en-US" sz="1100" b="1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conomic Research Institute</a:t>
            </a:r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</a:t>
            </a:r>
            <a:r>
              <a:rPr lang="en-US" sz="1100" b="1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JSC</a:t>
            </a:r>
            <a:endParaRPr lang="ru-RU" sz="1100" b="1" dirty="0">
              <a:solidFill>
                <a:schemeClr val="accent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065779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2900" y="227116"/>
            <a:ext cx="1528285" cy="464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9711" y="227116"/>
            <a:ext cx="442384" cy="464393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4172096" y="265158"/>
            <a:ext cx="3276108" cy="3883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b="1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inistry of National Economy of the Republic of Kazakhstan</a:t>
            </a:r>
            <a:endParaRPr lang="ru-RU" sz="1100" b="1" dirty="0">
              <a:solidFill>
                <a:schemeClr val="accent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7" name="Рисунок 2" descr="Описание: cid:image001.png@01D63842.54213DF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8982" y="226969"/>
            <a:ext cx="554052" cy="4646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Прямоугольник 7"/>
          <p:cNvSpPr/>
          <p:nvPr/>
        </p:nvSpPr>
        <p:spPr>
          <a:xfrm>
            <a:off x="9033035" y="265158"/>
            <a:ext cx="2846545" cy="3883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en-US" sz="1100" b="1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conomic Research Institute</a:t>
            </a:r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</a:t>
            </a:r>
            <a:r>
              <a:rPr lang="en-US" sz="1100" b="1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JSC</a:t>
            </a:r>
            <a:endParaRPr lang="ru-RU" sz="1100" b="1" dirty="0">
              <a:solidFill>
                <a:schemeClr val="accent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>
            <a:off x="0" y="914400"/>
            <a:ext cx="12192000" cy="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Овал 13"/>
          <p:cNvSpPr/>
          <p:nvPr/>
        </p:nvSpPr>
        <p:spPr>
          <a:xfrm>
            <a:off x="1536151" y="2834969"/>
            <a:ext cx="712915" cy="68351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cxnSp>
        <p:nvCxnSpPr>
          <p:cNvPr id="15" name="Соединительная линия уступом 14"/>
          <p:cNvCxnSpPr>
            <a:endCxn id="14" idx="6"/>
          </p:cNvCxnSpPr>
          <p:nvPr/>
        </p:nvCxnSpPr>
        <p:spPr>
          <a:xfrm rot="10800000">
            <a:off x="2249066" y="3176728"/>
            <a:ext cx="3426772" cy="1360414"/>
          </a:xfrm>
          <a:prstGeom prst="bentConnector3">
            <a:avLst>
              <a:gd name="adj1" fmla="val 271"/>
            </a:avLst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Овал 17"/>
          <p:cNvSpPr/>
          <p:nvPr/>
        </p:nvSpPr>
        <p:spPr>
          <a:xfrm>
            <a:off x="3048482" y="3141990"/>
            <a:ext cx="78126" cy="78126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19" name="Овал 18"/>
          <p:cNvSpPr/>
          <p:nvPr/>
        </p:nvSpPr>
        <p:spPr>
          <a:xfrm>
            <a:off x="5312029" y="3141990"/>
            <a:ext cx="78126" cy="7812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21" name="Овал 20"/>
          <p:cNvSpPr/>
          <p:nvPr/>
        </p:nvSpPr>
        <p:spPr>
          <a:xfrm>
            <a:off x="5714420" y="1137146"/>
            <a:ext cx="712915" cy="68351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cxnSp>
        <p:nvCxnSpPr>
          <p:cNvPr id="22" name="Прямая соединительная линия 21"/>
          <p:cNvCxnSpPr/>
          <p:nvPr/>
        </p:nvCxnSpPr>
        <p:spPr>
          <a:xfrm flipH="1">
            <a:off x="6050667" y="1829660"/>
            <a:ext cx="5512" cy="2712015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Овал 24"/>
          <p:cNvSpPr/>
          <p:nvPr/>
        </p:nvSpPr>
        <p:spPr>
          <a:xfrm>
            <a:off x="6023106" y="3084606"/>
            <a:ext cx="78126" cy="7812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27" name="Овал 26"/>
          <p:cNvSpPr/>
          <p:nvPr/>
        </p:nvSpPr>
        <p:spPr>
          <a:xfrm>
            <a:off x="4479010" y="2269361"/>
            <a:ext cx="712915" cy="68351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cxnSp>
        <p:nvCxnSpPr>
          <p:cNvPr id="28" name="Соединительная линия уступом 27"/>
          <p:cNvCxnSpPr>
            <a:endCxn id="27" idx="6"/>
          </p:cNvCxnSpPr>
          <p:nvPr/>
        </p:nvCxnSpPr>
        <p:spPr>
          <a:xfrm rot="16200000" flipV="1">
            <a:off x="4562514" y="3240532"/>
            <a:ext cx="1865385" cy="606561"/>
          </a:xfrm>
          <a:prstGeom prst="bentConnector2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Овал 30"/>
          <p:cNvSpPr/>
          <p:nvPr/>
        </p:nvSpPr>
        <p:spPr>
          <a:xfrm>
            <a:off x="5675836" y="2570898"/>
            <a:ext cx="78126" cy="78126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32" name="Овал 31"/>
          <p:cNvSpPr/>
          <p:nvPr/>
        </p:nvSpPr>
        <p:spPr>
          <a:xfrm>
            <a:off x="5328566" y="2570898"/>
            <a:ext cx="78126" cy="7812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34" name="Овал 33"/>
          <p:cNvSpPr/>
          <p:nvPr/>
        </p:nvSpPr>
        <p:spPr>
          <a:xfrm>
            <a:off x="2733712" y="1630758"/>
            <a:ext cx="712915" cy="68351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cxnSp>
        <p:nvCxnSpPr>
          <p:cNvPr id="35" name="Соединительная линия уступом 34"/>
          <p:cNvCxnSpPr>
            <a:endCxn id="34" idx="6"/>
          </p:cNvCxnSpPr>
          <p:nvPr/>
        </p:nvCxnSpPr>
        <p:spPr>
          <a:xfrm rot="16200000" flipV="1">
            <a:off x="3389195" y="2029949"/>
            <a:ext cx="2585696" cy="2470832"/>
          </a:xfrm>
          <a:prstGeom prst="bentConnector2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Соединительная линия уступом 42"/>
          <p:cNvCxnSpPr/>
          <p:nvPr/>
        </p:nvCxnSpPr>
        <p:spPr>
          <a:xfrm rot="10800000">
            <a:off x="4451658" y="3667565"/>
            <a:ext cx="1111454" cy="933425"/>
          </a:xfrm>
          <a:prstGeom prst="bentConnector3">
            <a:avLst>
              <a:gd name="adj1" fmla="val 2133"/>
            </a:avLst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Овал 44"/>
          <p:cNvSpPr/>
          <p:nvPr/>
        </p:nvSpPr>
        <p:spPr>
          <a:xfrm>
            <a:off x="4909587" y="3622690"/>
            <a:ext cx="78126" cy="78126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46" name="Овал 45"/>
          <p:cNvSpPr/>
          <p:nvPr/>
        </p:nvSpPr>
        <p:spPr>
          <a:xfrm>
            <a:off x="5493933" y="4101206"/>
            <a:ext cx="78126" cy="7812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54" name="Овал 53"/>
          <p:cNvSpPr/>
          <p:nvPr/>
        </p:nvSpPr>
        <p:spPr>
          <a:xfrm>
            <a:off x="7498078" y="3773869"/>
            <a:ext cx="712915" cy="68351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cxnSp>
        <p:nvCxnSpPr>
          <p:cNvPr id="55" name="Соединительная линия уступом 54"/>
          <p:cNvCxnSpPr/>
          <p:nvPr/>
        </p:nvCxnSpPr>
        <p:spPr>
          <a:xfrm flipV="1">
            <a:off x="6555944" y="4092255"/>
            <a:ext cx="943508" cy="579416"/>
          </a:xfrm>
          <a:prstGeom prst="bentConnector3">
            <a:avLst>
              <a:gd name="adj1" fmla="val -389"/>
            </a:avLst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Овал 56"/>
          <p:cNvSpPr/>
          <p:nvPr/>
        </p:nvSpPr>
        <p:spPr>
          <a:xfrm>
            <a:off x="6967533" y="4056746"/>
            <a:ext cx="78126" cy="78126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58" name="Овал 57"/>
          <p:cNvSpPr/>
          <p:nvPr/>
        </p:nvSpPr>
        <p:spPr>
          <a:xfrm>
            <a:off x="7255088" y="4060270"/>
            <a:ext cx="78126" cy="7812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61" name="Овал 60"/>
          <p:cNvSpPr/>
          <p:nvPr/>
        </p:nvSpPr>
        <p:spPr>
          <a:xfrm>
            <a:off x="9815519" y="3027649"/>
            <a:ext cx="712915" cy="68351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cxnSp>
        <p:nvCxnSpPr>
          <p:cNvPr id="63" name="Соединительная линия уступом 62"/>
          <p:cNvCxnSpPr>
            <a:endCxn id="61" idx="2"/>
          </p:cNvCxnSpPr>
          <p:nvPr/>
        </p:nvCxnSpPr>
        <p:spPr>
          <a:xfrm flipV="1">
            <a:off x="6450283" y="3369408"/>
            <a:ext cx="3365236" cy="1254955"/>
          </a:xfrm>
          <a:prstGeom prst="bentConnector3">
            <a:avLst>
              <a:gd name="adj1" fmla="val 596"/>
            </a:avLst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Овал 68"/>
          <p:cNvSpPr/>
          <p:nvPr/>
        </p:nvSpPr>
        <p:spPr>
          <a:xfrm>
            <a:off x="6636800" y="1857220"/>
            <a:ext cx="712915" cy="68351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cxnSp>
        <p:nvCxnSpPr>
          <p:cNvPr id="70" name="Соединительная линия уступом 69"/>
          <p:cNvCxnSpPr/>
          <p:nvPr/>
        </p:nvCxnSpPr>
        <p:spPr>
          <a:xfrm rot="5400000" flipH="1" flipV="1">
            <a:off x="5243124" y="3165456"/>
            <a:ext cx="2333508" cy="440977"/>
          </a:xfrm>
          <a:prstGeom prst="bentConnector3">
            <a:avLst>
              <a:gd name="adj1" fmla="val 100394"/>
            </a:avLst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Овал 71"/>
          <p:cNvSpPr/>
          <p:nvPr/>
        </p:nvSpPr>
        <p:spPr>
          <a:xfrm>
            <a:off x="6221546" y="2183358"/>
            <a:ext cx="78126" cy="78126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75" name="Овал 74"/>
          <p:cNvSpPr/>
          <p:nvPr/>
        </p:nvSpPr>
        <p:spPr>
          <a:xfrm>
            <a:off x="7897259" y="2351485"/>
            <a:ext cx="712915" cy="683517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cxnSp>
        <p:nvCxnSpPr>
          <p:cNvPr id="76" name="Соединительная линия уступом 75"/>
          <p:cNvCxnSpPr/>
          <p:nvPr/>
        </p:nvCxnSpPr>
        <p:spPr>
          <a:xfrm rot="5400000" flipH="1" flipV="1">
            <a:off x="6159984" y="2854018"/>
            <a:ext cx="1878752" cy="1579252"/>
          </a:xfrm>
          <a:prstGeom prst="bentConnector3">
            <a:avLst>
              <a:gd name="adj1" fmla="val 100856"/>
            </a:avLst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Овал 76"/>
          <p:cNvSpPr/>
          <p:nvPr/>
        </p:nvSpPr>
        <p:spPr>
          <a:xfrm>
            <a:off x="6508179" y="2658872"/>
            <a:ext cx="78126" cy="78126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78" name="Овал 77"/>
          <p:cNvSpPr/>
          <p:nvPr/>
        </p:nvSpPr>
        <p:spPr>
          <a:xfrm>
            <a:off x="7346040" y="2662921"/>
            <a:ext cx="78126" cy="7812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79" name="Овал 78"/>
          <p:cNvSpPr/>
          <p:nvPr/>
        </p:nvSpPr>
        <p:spPr>
          <a:xfrm>
            <a:off x="6279425" y="3755372"/>
            <a:ext cx="78126" cy="7812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65" name="Овал 64"/>
          <p:cNvSpPr/>
          <p:nvPr/>
        </p:nvSpPr>
        <p:spPr>
          <a:xfrm>
            <a:off x="9032002" y="3338268"/>
            <a:ext cx="84518" cy="80750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66" name="Овал 65"/>
          <p:cNvSpPr/>
          <p:nvPr/>
        </p:nvSpPr>
        <p:spPr>
          <a:xfrm>
            <a:off x="7685955" y="3332656"/>
            <a:ext cx="78126" cy="7812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38" name="Овал 37"/>
          <p:cNvSpPr/>
          <p:nvPr/>
        </p:nvSpPr>
        <p:spPr>
          <a:xfrm>
            <a:off x="3838161" y="1931769"/>
            <a:ext cx="78126" cy="78126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0,2я</a:t>
            </a:r>
            <a:endParaRPr lang="ru-RU" sz="1400" dirty="0"/>
          </a:p>
        </p:txBody>
      </p:sp>
      <p:sp>
        <p:nvSpPr>
          <p:cNvPr id="39" name="Овал 38"/>
          <p:cNvSpPr/>
          <p:nvPr/>
        </p:nvSpPr>
        <p:spPr>
          <a:xfrm>
            <a:off x="5584884" y="1935441"/>
            <a:ext cx="78126" cy="78126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91" name="Прямоугольник 90"/>
          <p:cNvSpPr/>
          <p:nvPr/>
        </p:nvSpPr>
        <p:spPr>
          <a:xfrm>
            <a:off x="3048000" y="5927164"/>
            <a:ext cx="6096000" cy="707886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n-US" sz="2000" b="1" u="sng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ECD Guidelines for </a:t>
            </a:r>
          </a:p>
          <a:p>
            <a:pPr algn="ctr"/>
            <a:r>
              <a:rPr lang="en-US" sz="2000" b="1" u="sng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ultinational Enterprises</a:t>
            </a:r>
            <a:endParaRPr lang="ru-RU" sz="2000" b="1" u="sng" dirty="0">
              <a:solidFill>
                <a:schemeClr val="accent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2" name="Овал 91"/>
          <p:cNvSpPr/>
          <p:nvPr/>
        </p:nvSpPr>
        <p:spPr>
          <a:xfrm>
            <a:off x="3723928" y="3283523"/>
            <a:ext cx="756459" cy="756459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3" name="Овал 92"/>
          <p:cNvSpPr/>
          <p:nvPr/>
        </p:nvSpPr>
        <p:spPr>
          <a:xfrm>
            <a:off x="2453275" y="3915212"/>
            <a:ext cx="756459" cy="756459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94" name="Соединительная линия уступом 93"/>
          <p:cNvCxnSpPr>
            <a:endCxn id="93" idx="6"/>
          </p:cNvCxnSpPr>
          <p:nvPr/>
        </p:nvCxnSpPr>
        <p:spPr>
          <a:xfrm rot="10800000">
            <a:off x="3209734" y="4293442"/>
            <a:ext cx="2155822" cy="606530"/>
          </a:xfrm>
          <a:prstGeom prst="bentConnector3">
            <a:avLst>
              <a:gd name="adj1" fmla="val -2441"/>
            </a:avLst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Овал 10"/>
          <p:cNvSpPr/>
          <p:nvPr/>
        </p:nvSpPr>
        <p:spPr>
          <a:xfrm>
            <a:off x="5174223" y="4258199"/>
            <a:ext cx="1793311" cy="1712464"/>
          </a:xfrm>
          <a:prstGeom prst="ellips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95767" y="4547131"/>
            <a:ext cx="1210393" cy="1210393"/>
          </a:xfrm>
          <a:prstGeom prst="rect">
            <a:avLst/>
          </a:prstGeom>
        </p:spPr>
      </p:pic>
      <p:sp>
        <p:nvSpPr>
          <p:cNvPr id="97" name="Овал 96"/>
          <p:cNvSpPr/>
          <p:nvPr/>
        </p:nvSpPr>
        <p:spPr>
          <a:xfrm>
            <a:off x="3604526" y="4254378"/>
            <a:ext cx="78126" cy="78126"/>
          </a:xfrm>
          <a:prstGeom prst="ellipse">
            <a:avLst/>
          </a:prstGeom>
          <a:solidFill>
            <a:schemeClr val="accent1">
              <a:lumMod val="50000"/>
            </a:schemeClr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98" name="Овал 97"/>
          <p:cNvSpPr/>
          <p:nvPr/>
        </p:nvSpPr>
        <p:spPr>
          <a:xfrm>
            <a:off x="4703822" y="4256270"/>
            <a:ext cx="78126" cy="78126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/>
          </a:p>
        </p:txBody>
      </p:sp>
      <p:sp>
        <p:nvSpPr>
          <p:cNvPr id="100" name="TextBox 99"/>
          <p:cNvSpPr txBox="1"/>
          <p:nvPr/>
        </p:nvSpPr>
        <p:spPr>
          <a:xfrm>
            <a:off x="1961628" y="3440321"/>
            <a:ext cx="17733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isclosure</a:t>
            </a:r>
            <a:endParaRPr lang="ru-RU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-234092" y="3047167"/>
            <a:ext cx="17733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uman Rights</a:t>
            </a:r>
          </a:p>
          <a:p>
            <a:pPr algn="r"/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2" name="TextBox 101"/>
          <p:cNvSpPr txBox="1"/>
          <p:nvPr/>
        </p:nvSpPr>
        <p:spPr>
          <a:xfrm>
            <a:off x="2711743" y="2344361"/>
            <a:ext cx="17733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mployment and Industrial Relations</a:t>
            </a:r>
            <a:endParaRPr lang="ru-RU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3" name="TextBox 102"/>
          <p:cNvSpPr txBox="1"/>
          <p:nvPr/>
        </p:nvSpPr>
        <p:spPr>
          <a:xfrm>
            <a:off x="682900" y="1745381"/>
            <a:ext cx="20475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vironment</a:t>
            </a:r>
            <a:endParaRPr lang="ru-RU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4" name="TextBox 103"/>
          <p:cNvSpPr txBox="1"/>
          <p:nvPr/>
        </p:nvSpPr>
        <p:spPr>
          <a:xfrm>
            <a:off x="6427334" y="1221276"/>
            <a:ext cx="27166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bating Bribery, Bribe Solicitation and Extortion</a:t>
            </a:r>
            <a:endParaRPr lang="ru-RU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7324325" y="2043221"/>
            <a:ext cx="363184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sumer Interests</a:t>
            </a:r>
            <a:endParaRPr lang="ru-RU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8604659" y="2556580"/>
            <a:ext cx="17733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cience and Technology</a:t>
            </a:r>
            <a:endParaRPr lang="ru-RU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10514518" y="3230907"/>
            <a:ext cx="17733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petition</a:t>
            </a:r>
            <a:endParaRPr lang="ru-RU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8229853" y="3990988"/>
            <a:ext cx="17733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axation</a:t>
            </a:r>
            <a:endParaRPr lang="ru-RU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13" name="Рисунок 1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21274" y="2395862"/>
            <a:ext cx="426218" cy="426218"/>
          </a:xfrm>
          <a:prstGeom prst="rect">
            <a:avLst/>
          </a:prstGeom>
        </p:spPr>
      </p:pic>
      <p:pic>
        <p:nvPicPr>
          <p:cNvPr id="114" name="Рисунок 1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7732" y="1768393"/>
            <a:ext cx="371396" cy="371396"/>
          </a:xfrm>
          <a:prstGeom prst="rect">
            <a:avLst/>
          </a:prstGeom>
        </p:spPr>
      </p:pic>
      <p:pic>
        <p:nvPicPr>
          <p:cNvPr id="115" name="Рисунок 1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4654" y="2486902"/>
            <a:ext cx="430163" cy="430163"/>
          </a:xfrm>
          <a:prstGeom prst="rect">
            <a:avLst/>
          </a:prstGeom>
        </p:spPr>
      </p:pic>
      <p:pic>
        <p:nvPicPr>
          <p:cNvPr id="116" name="Рисунок 11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8761" y="3921662"/>
            <a:ext cx="368833" cy="368833"/>
          </a:xfrm>
          <a:prstGeom prst="rect">
            <a:avLst/>
          </a:prstGeom>
        </p:spPr>
      </p:pic>
      <p:pic>
        <p:nvPicPr>
          <p:cNvPr id="117" name="Рисунок 11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0941" y="3456598"/>
            <a:ext cx="410308" cy="410308"/>
          </a:xfrm>
          <a:prstGeom prst="rect">
            <a:avLst/>
          </a:prstGeom>
        </p:spPr>
      </p:pic>
      <p:pic>
        <p:nvPicPr>
          <p:cNvPr id="118" name="Рисунок 11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1921" y="1252247"/>
            <a:ext cx="447751" cy="447751"/>
          </a:xfrm>
          <a:prstGeom prst="rect">
            <a:avLst/>
          </a:prstGeom>
        </p:spPr>
      </p:pic>
      <p:sp>
        <p:nvSpPr>
          <p:cNvPr id="121" name="Freeform 49">
            <a:extLst>
              <a:ext uri="{FF2B5EF4-FFF2-40B4-BE49-F238E27FC236}">
                <a16:creationId xmlns="" xmlns:a16="http://schemas.microsoft.com/office/drawing/2014/main" id="{AD01ADCD-ACEB-4763-9FAC-5F42AAD6F9E3}"/>
              </a:ext>
            </a:extLst>
          </p:cNvPr>
          <p:cNvSpPr>
            <a:spLocks noEditPoints="1"/>
          </p:cNvSpPr>
          <p:nvPr/>
        </p:nvSpPr>
        <p:spPr bwMode="auto">
          <a:xfrm>
            <a:off x="1682553" y="3008448"/>
            <a:ext cx="400611" cy="296796"/>
          </a:xfrm>
          <a:custGeom>
            <a:avLst/>
            <a:gdLst>
              <a:gd name="T0" fmla="*/ 253 w 1868"/>
              <a:gd name="T1" fmla="*/ 277 h 1383"/>
              <a:gd name="T2" fmla="*/ 795 w 1868"/>
              <a:gd name="T3" fmla="*/ 123 h 1383"/>
              <a:gd name="T4" fmla="*/ 793 w 1868"/>
              <a:gd name="T5" fmla="*/ 169 h 1383"/>
              <a:gd name="T6" fmla="*/ 805 w 1868"/>
              <a:gd name="T7" fmla="*/ 209 h 1383"/>
              <a:gd name="T8" fmla="*/ 304 w 1868"/>
              <a:gd name="T9" fmla="*/ 303 h 1383"/>
              <a:gd name="T10" fmla="*/ 460 w 1868"/>
              <a:gd name="T11" fmla="*/ 873 h 1383"/>
              <a:gd name="T12" fmla="*/ 92 w 1868"/>
              <a:gd name="T13" fmla="*/ 874 h 1383"/>
              <a:gd name="T14" fmla="*/ 1065 w 1868"/>
              <a:gd name="T15" fmla="*/ 204 h 1383"/>
              <a:gd name="T16" fmla="*/ 1352 w 1868"/>
              <a:gd name="T17" fmla="*/ 635 h 1383"/>
              <a:gd name="T18" fmla="*/ 1589 w 1868"/>
              <a:gd name="T19" fmla="*/ 89 h 1383"/>
              <a:gd name="T20" fmla="*/ 1830 w 1868"/>
              <a:gd name="T21" fmla="*/ 634 h 1383"/>
              <a:gd name="T22" fmla="*/ 1613 w 1868"/>
              <a:gd name="T23" fmla="*/ 18 h 1383"/>
              <a:gd name="T24" fmla="*/ 1589 w 1868"/>
              <a:gd name="T25" fmla="*/ 1 h 1383"/>
              <a:gd name="T26" fmla="*/ 1583 w 1868"/>
              <a:gd name="T27" fmla="*/ 1 h 1383"/>
              <a:gd name="T28" fmla="*/ 1068 w 1868"/>
              <a:gd name="T29" fmla="*/ 101 h 1383"/>
              <a:gd name="T30" fmla="*/ 1076 w 1868"/>
              <a:gd name="T31" fmla="*/ 154 h 1383"/>
              <a:gd name="T32" fmla="*/ 553 w 1868"/>
              <a:gd name="T33" fmla="*/ 1029 h 1383"/>
              <a:gd name="T34" fmla="*/ 431 w 1868"/>
              <a:gd name="T35" fmla="*/ 1367 h 1383"/>
              <a:gd name="T36" fmla="*/ 123 w 1868"/>
              <a:gd name="T37" fmla="*/ 1367 h 1383"/>
              <a:gd name="T38" fmla="*/ 0 w 1868"/>
              <a:gd name="T39" fmla="*/ 1249 h 1383"/>
              <a:gd name="T40" fmla="*/ 123 w 1868"/>
              <a:gd name="T41" fmla="*/ 911 h 1383"/>
              <a:gd name="T42" fmla="*/ 431 w 1868"/>
              <a:gd name="T43" fmla="*/ 911 h 1383"/>
              <a:gd name="T44" fmla="*/ 553 w 1868"/>
              <a:gd name="T45" fmla="*/ 1029 h 1383"/>
              <a:gd name="T46" fmla="*/ 420 w 1868"/>
              <a:gd name="T47" fmla="*/ 954 h 1383"/>
              <a:gd name="T48" fmla="*/ 133 w 1868"/>
              <a:gd name="T49" fmla="*/ 954 h 1383"/>
              <a:gd name="T50" fmla="*/ 44 w 1868"/>
              <a:gd name="T51" fmla="*/ 1249 h 1383"/>
              <a:gd name="T52" fmla="*/ 277 w 1868"/>
              <a:gd name="T53" fmla="*/ 1339 h 1383"/>
              <a:gd name="T54" fmla="*/ 509 w 1868"/>
              <a:gd name="T55" fmla="*/ 1249 h 1383"/>
              <a:gd name="T56" fmla="*/ 1868 w 1868"/>
              <a:gd name="T57" fmla="*/ 767 h 1383"/>
              <a:gd name="T58" fmla="*/ 1745 w 1868"/>
              <a:gd name="T59" fmla="*/ 1105 h 1383"/>
              <a:gd name="T60" fmla="*/ 1437 w 1868"/>
              <a:gd name="T61" fmla="*/ 1105 h 1383"/>
              <a:gd name="T62" fmla="*/ 1315 w 1868"/>
              <a:gd name="T63" fmla="*/ 988 h 1383"/>
              <a:gd name="T64" fmla="*/ 1437 w 1868"/>
              <a:gd name="T65" fmla="*/ 649 h 1383"/>
              <a:gd name="T66" fmla="*/ 1745 w 1868"/>
              <a:gd name="T67" fmla="*/ 649 h 1383"/>
              <a:gd name="T68" fmla="*/ 1868 w 1868"/>
              <a:gd name="T69" fmla="*/ 767 h 1383"/>
              <a:gd name="T70" fmla="*/ 1735 w 1868"/>
              <a:gd name="T71" fmla="*/ 692 h 1383"/>
              <a:gd name="T72" fmla="*/ 1448 w 1868"/>
              <a:gd name="T73" fmla="*/ 692 h 1383"/>
              <a:gd name="T74" fmla="*/ 1359 w 1868"/>
              <a:gd name="T75" fmla="*/ 988 h 1383"/>
              <a:gd name="T76" fmla="*/ 1591 w 1868"/>
              <a:gd name="T77" fmla="*/ 1077 h 1383"/>
              <a:gd name="T78" fmla="*/ 1824 w 1868"/>
              <a:gd name="T79" fmla="*/ 988 h 13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868" h="1383">
                <a:moveTo>
                  <a:pt x="37" y="897"/>
                </a:moveTo>
                <a:cubicBezTo>
                  <a:pt x="253" y="277"/>
                  <a:pt x="253" y="277"/>
                  <a:pt x="253" y="277"/>
                </a:cubicBezTo>
                <a:cubicBezTo>
                  <a:pt x="256" y="268"/>
                  <a:pt x="264" y="262"/>
                  <a:pt x="274" y="262"/>
                </a:cubicBezTo>
                <a:cubicBezTo>
                  <a:pt x="795" y="123"/>
                  <a:pt x="795" y="123"/>
                  <a:pt x="795" y="123"/>
                </a:cubicBezTo>
                <a:cubicBezTo>
                  <a:pt x="793" y="131"/>
                  <a:pt x="792" y="140"/>
                  <a:pt x="792" y="149"/>
                </a:cubicBezTo>
                <a:cubicBezTo>
                  <a:pt x="792" y="156"/>
                  <a:pt x="793" y="162"/>
                  <a:pt x="793" y="169"/>
                </a:cubicBezTo>
                <a:cubicBezTo>
                  <a:pt x="546" y="235"/>
                  <a:pt x="546" y="235"/>
                  <a:pt x="546" y="235"/>
                </a:cubicBezTo>
                <a:cubicBezTo>
                  <a:pt x="805" y="209"/>
                  <a:pt x="805" y="209"/>
                  <a:pt x="805" y="209"/>
                </a:cubicBezTo>
                <a:cubicBezTo>
                  <a:pt x="813" y="224"/>
                  <a:pt x="822" y="238"/>
                  <a:pt x="835" y="250"/>
                </a:cubicBezTo>
                <a:cubicBezTo>
                  <a:pt x="304" y="303"/>
                  <a:pt x="304" y="303"/>
                  <a:pt x="304" y="303"/>
                </a:cubicBezTo>
                <a:cubicBezTo>
                  <a:pt x="515" y="896"/>
                  <a:pt x="515" y="896"/>
                  <a:pt x="515" y="896"/>
                </a:cubicBezTo>
                <a:cubicBezTo>
                  <a:pt x="495" y="884"/>
                  <a:pt x="475" y="877"/>
                  <a:pt x="460" y="873"/>
                </a:cubicBezTo>
                <a:cubicBezTo>
                  <a:pt x="274" y="350"/>
                  <a:pt x="274" y="350"/>
                  <a:pt x="274" y="350"/>
                </a:cubicBezTo>
                <a:cubicBezTo>
                  <a:pt x="92" y="874"/>
                  <a:pt x="92" y="874"/>
                  <a:pt x="92" y="874"/>
                </a:cubicBezTo>
                <a:cubicBezTo>
                  <a:pt x="70" y="880"/>
                  <a:pt x="52" y="888"/>
                  <a:pt x="37" y="897"/>
                </a:cubicBezTo>
                <a:close/>
                <a:moveTo>
                  <a:pt x="1065" y="204"/>
                </a:moveTo>
                <a:cubicBezTo>
                  <a:pt x="1553" y="57"/>
                  <a:pt x="1553" y="57"/>
                  <a:pt x="1553" y="57"/>
                </a:cubicBezTo>
                <a:cubicBezTo>
                  <a:pt x="1352" y="635"/>
                  <a:pt x="1352" y="635"/>
                  <a:pt x="1352" y="635"/>
                </a:cubicBezTo>
                <a:cubicBezTo>
                  <a:pt x="1367" y="627"/>
                  <a:pt x="1385" y="619"/>
                  <a:pt x="1406" y="612"/>
                </a:cubicBezTo>
                <a:cubicBezTo>
                  <a:pt x="1589" y="89"/>
                  <a:pt x="1589" y="89"/>
                  <a:pt x="1589" y="89"/>
                </a:cubicBezTo>
                <a:cubicBezTo>
                  <a:pt x="1775" y="612"/>
                  <a:pt x="1775" y="612"/>
                  <a:pt x="1775" y="612"/>
                </a:cubicBezTo>
                <a:cubicBezTo>
                  <a:pt x="1790" y="616"/>
                  <a:pt x="1810" y="623"/>
                  <a:pt x="1830" y="634"/>
                </a:cubicBezTo>
                <a:cubicBezTo>
                  <a:pt x="1613" y="26"/>
                  <a:pt x="1613" y="26"/>
                  <a:pt x="1613" y="26"/>
                </a:cubicBezTo>
                <a:cubicBezTo>
                  <a:pt x="1613" y="23"/>
                  <a:pt x="1613" y="21"/>
                  <a:pt x="1613" y="18"/>
                </a:cubicBezTo>
                <a:cubicBezTo>
                  <a:pt x="1611" y="8"/>
                  <a:pt x="1601" y="0"/>
                  <a:pt x="1590" y="1"/>
                </a:cubicBezTo>
                <a:cubicBezTo>
                  <a:pt x="1590" y="1"/>
                  <a:pt x="1589" y="1"/>
                  <a:pt x="1589" y="1"/>
                </a:cubicBezTo>
                <a:cubicBezTo>
                  <a:pt x="1589" y="1"/>
                  <a:pt x="1589" y="1"/>
                  <a:pt x="1589" y="1"/>
                </a:cubicBezTo>
                <a:cubicBezTo>
                  <a:pt x="1587" y="1"/>
                  <a:pt x="1585" y="1"/>
                  <a:pt x="1583" y="1"/>
                </a:cubicBezTo>
                <a:cubicBezTo>
                  <a:pt x="1044" y="59"/>
                  <a:pt x="1044" y="59"/>
                  <a:pt x="1044" y="59"/>
                </a:cubicBezTo>
                <a:cubicBezTo>
                  <a:pt x="1054" y="72"/>
                  <a:pt x="1062" y="86"/>
                  <a:pt x="1068" y="101"/>
                </a:cubicBezTo>
                <a:cubicBezTo>
                  <a:pt x="1358" y="70"/>
                  <a:pt x="1358" y="70"/>
                  <a:pt x="1358" y="70"/>
                </a:cubicBezTo>
                <a:cubicBezTo>
                  <a:pt x="1076" y="154"/>
                  <a:pt x="1076" y="154"/>
                  <a:pt x="1076" y="154"/>
                </a:cubicBezTo>
                <a:cubicBezTo>
                  <a:pt x="1075" y="172"/>
                  <a:pt x="1071" y="188"/>
                  <a:pt x="1065" y="204"/>
                </a:cubicBezTo>
                <a:close/>
                <a:moveTo>
                  <a:pt x="553" y="1029"/>
                </a:moveTo>
                <a:cubicBezTo>
                  <a:pt x="553" y="1249"/>
                  <a:pt x="553" y="1249"/>
                  <a:pt x="553" y="1249"/>
                </a:cubicBezTo>
                <a:cubicBezTo>
                  <a:pt x="553" y="1289"/>
                  <a:pt x="532" y="1342"/>
                  <a:pt x="431" y="1367"/>
                </a:cubicBezTo>
                <a:cubicBezTo>
                  <a:pt x="389" y="1377"/>
                  <a:pt x="334" y="1383"/>
                  <a:pt x="277" y="1383"/>
                </a:cubicBezTo>
                <a:cubicBezTo>
                  <a:pt x="219" y="1383"/>
                  <a:pt x="165" y="1377"/>
                  <a:pt x="123" y="1367"/>
                </a:cubicBezTo>
                <a:cubicBezTo>
                  <a:pt x="110" y="1364"/>
                  <a:pt x="83" y="1357"/>
                  <a:pt x="58" y="1342"/>
                </a:cubicBezTo>
                <a:cubicBezTo>
                  <a:pt x="21" y="1321"/>
                  <a:pt x="0" y="1287"/>
                  <a:pt x="0" y="1249"/>
                </a:cubicBezTo>
                <a:cubicBezTo>
                  <a:pt x="0" y="1029"/>
                  <a:pt x="0" y="1029"/>
                  <a:pt x="0" y="1029"/>
                </a:cubicBezTo>
                <a:cubicBezTo>
                  <a:pt x="0" y="989"/>
                  <a:pt x="21" y="935"/>
                  <a:pt x="123" y="911"/>
                </a:cubicBezTo>
                <a:cubicBezTo>
                  <a:pt x="165" y="901"/>
                  <a:pt x="219" y="895"/>
                  <a:pt x="277" y="895"/>
                </a:cubicBezTo>
                <a:cubicBezTo>
                  <a:pt x="334" y="895"/>
                  <a:pt x="389" y="901"/>
                  <a:pt x="431" y="911"/>
                </a:cubicBezTo>
                <a:cubicBezTo>
                  <a:pt x="444" y="914"/>
                  <a:pt x="470" y="920"/>
                  <a:pt x="495" y="935"/>
                </a:cubicBezTo>
                <a:cubicBezTo>
                  <a:pt x="533" y="957"/>
                  <a:pt x="553" y="990"/>
                  <a:pt x="553" y="1029"/>
                </a:cubicBezTo>
                <a:close/>
                <a:moveTo>
                  <a:pt x="509" y="1029"/>
                </a:moveTo>
                <a:cubicBezTo>
                  <a:pt x="509" y="975"/>
                  <a:pt x="442" y="959"/>
                  <a:pt x="420" y="954"/>
                </a:cubicBezTo>
                <a:cubicBezTo>
                  <a:pt x="381" y="944"/>
                  <a:pt x="330" y="939"/>
                  <a:pt x="277" y="939"/>
                </a:cubicBezTo>
                <a:cubicBezTo>
                  <a:pt x="223" y="939"/>
                  <a:pt x="172" y="944"/>
                  <a:pt x="133" y="954"/>
                </a:cubicBezTo>
                <a:cubicBezTo>
                  <a:pt x="111" y="959"/>
                  <a:pt x="44" y="975"/>
                  <a:pt x="44" y="1029"/>
                </a:cubicBezTo>
                <a:cubicBezTo>
                  <a:pt x="44" y="1249"/>
                  <a:pt x="44" y="1249"/>
                  <a:pt x="44" y="1249"/>
                </a:cubicBezTo>
                <a:cubicBezTo>
                  <a:pt x="44" y="1302"/>
                  <a:pt x="111" y="1319"/>
                  <a:pt x="133" y="1324"/>
                </a:cubicBezTo>
                <a:cubicBezTo>
                  <a:pt x="172" y="1334"/>
                  <a:pt x="223" y="1339"/>
                  <a:pt x="277" y="1339"/>
                </a:cubicBezTo>
                <a:cubicBezTo>
                  <a:pt x="330" y="1339"/>
                  <a:pt x="381" y="1334"/>
                  <a:pt x="420" y="1324"/>
                </a:cubicBezTo>
                <a:cubicBezTo>
                  <a:pt x="442" y="1319"/>
                  <a:pt x="509" y="1302"/>
                  <a:pt x="509" y="1249"/>
                </a:cubicBezTo>
                <a:lnTo>
                  <a:pt x="509" y="1029"/>
                </a:lnTo>
                <a:close/>
                <a:moveTo>
                  <a:pt x="1868" y="767"/>
                </a:moveTo>
                <a:cubicBezTo>
                  <a:pt x="1868" y="988"/>
                  <a:pt x="1868" y="988"/>
                  <a:pt x="1868" y="988"/>
                </a:cubicBezTo>
                <a:cubicBezTo>
                  <a:pt x="1868" y="1028"/>
                  <a:pt x="1847" y="1081"/>
                  <a:pt x="1745" y="1105"/>
                </a:cubicBezTo>
                <a:cubicBezTo>
                  <a:pt x="1703" y="1116"/>
                  <a:pt x="1649" y="1121"/>
                  <a:pt x="1591" y="1121"/>
                </a:cubicBezTo>
                <a:cubicBezTo>
                  <a:pt x="1534" y="1121"/>
                  <a:pt x="1479" y="1116"/>
                  <a:pt x="1437" y="1105"/>
                </a:cubicBezTo>
                <a:cubicBezTo>
                  <a:pt x="1424" y="1102"/>
                  <a:pt x="1398" y="1096"/>
                  <a:pt x="1373" y="1081"/>
                </a:cubicBezTo>
                <a:cubicBezTo>
                  <a:pt x="1335" y="1059"/>
                  <a:pt x="1315" y="1026"/>
                  <a:pt x="1315" y="988"/>
                </a:cubicBezTo>
                <a:cubicBezTo>
                  <a:pt x="1315" y="767"/>
                  <a:pt x="1315" y="767"/>
                  <a:pt x="1315" y="767"/>
                </a:cubicBezTo>
                <a:cubicBezTo>
                  <a:pt x="1315" y="727"/>
                  <a:pt x="1336" y="674"/>
                  <a:pt x="1437" y="649"/>
                </a:cubicBezTo>
                <a:cubicBezTo>
                  <a:pt x="1479" y="639"/>
                  <a:pt x="1534" y="634"/>
                  <a:pt x="1591" y="634"/>
                </a:cubicBezTo>
                <a:cubicBezTo>
                  <a:pt x="1649" y="634"/>
                  <a:pt x="1703" y="639"/>
                  <a:pt x="1745" y="649"/>
                </a:cubicBezTo>
                <a:cubicBezTo>
                  <a:pt x="1758" y="653"/>
                  <a:pt x="1785" y="659"/>
                  <a:pt x="1810" y="674"/>
                </a:cubicBezTo>
                <a:cubicBezTo>
                  <a:pt x="1847" y="696"/>
                  <a:pt x="1868" y="729"/>
                  <a:pt x="1868" y="767"/>
                </a:cubicBezTo>
                <a:close/>
                <a:moveTo>
                  <a:pt x="1824" y="767"/>
                </a:moveTo>
                <a:cubicBezTo>
                  <a:pt x="1824" y="714"/>
                  <a:pt x="1757" y="698"/>
                  <a:pt x="1735" y="692"/>
                </a:cubicBezTo>
                <a:cubicBezTo>
                  <a:pt x="1696" y="683"/>
                  <a:pt x="1645" y="678"/>
                  <a:pt x="1591" y="678"/>
                </a:cubicBezTo>
                <a:cubicBezTo>
                  <a:pt x="1538" y="678"/>
                  <a:pt x="1487" y="683"/>
                  <a:pt x="1448" y="692"/>
                </a:cubicBezTo>
                <a:cubicBezTo>
                  <a:pt x="1426" y="698"/>
                  <a:pt x="1359" y="714"/>
                  <a:pt x="1359" y="767"/>
                </a:cubicBezTo>
                <a:cubicBezTo>
                  <a:pt x="1359" y="988"/>
                  <a:pt x="1359" y="988"/>
                  <a:pt x="1359" y="988"/>
                </a:cubicBezTo>
                <a:cubicBezTo>
                  <a:pt x="1359" y="1041"/>
                  <a:pt x="1426" y="1057"/>
                  <a:pt x="1448" y="1063"/>
                </a:cubicBezTo>
                <a:cubicBezTo>
                  <a:pt x="1487" y="1072"/>
                  <a:pt x="1538" y="1077"/>
                  <a:pt x="1591" y="1077"/>
                </a:cubicBezTo>
                <a:cubicBezTo>
                  <a:pt x="1645" y="1077"/>
                  <a:pt x="1696" y="1072"/>
                  <a:pt x="1735" y="1063"/>
                </a:cubicBezTo>
                <a:cubicBezTo>
                  <a:pt x="1757" y="1057"/>
                  <a:pt x="1824" y="1041"/>
                  <a:pt x="1824" y="988"/>
                </a:cubicBezTo>
                <a:lnTo>
                  <a:pt x="1824" y="76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22" name="Freeform 50">
            <a:extLst>
              <a:ext uri="{FF2B5EF4-FFF2-40B4-BE49-F238E27FC236}">
                <a16:creationId xmlns="" xmlns:a16="http://schemas.microsoft.com/office/drawing/2014/main" id="{4FEBEC26-2E26-4281-AE62-6E1081D24DC2}"/>
              </a:ext>
            </a:extLst>
          </p:cNvPr>
          <p:cNvSpPr>
            <a:spLocks noEditPoints="1"/>
          </p:cNvSpPr>
          <p:nvPr/>
        </p:nvSpPr>
        <p:spPr bwMode="auto">
          <a:xfrm>
            <a:off x="1701439" y="3019436"/>
            <a:ext cx="362839" cy="316713"/>
          </a:xfrm>
          <a:custGeom>
            <a:avLst/>
            <a:gdLst>
              <a:gd name="T0" fmla="*/ 897 w 1692"/>
              <a:gd name="T1" fmla="*/ 1476 h 1476"/>
              <a:gd name="T2" fmla="*/ 379 w 1692"/>
              <a:gd name="T3" fmla="*/ 1476 h 1476"/>
              <a:gd name="T4" fmla="*/ 792 w 1692"/>
              <a:gd name="T5" fmla="*/ 179 h 1476"/>
              <a:gd name="T6" fmla="*/ 846 w 1692"/>
              <a:gd name="T7" fmla="*/ 0 h 1476"/>
              <a:gd name="T8" fmla="*/ 897 w 1692"/>
              <a:gd name="T9" fmla="*/ 182 h 1476"/>
              <a:gd name="T10" fmla="*/ 1313 w 1692"/>
              <a:gd name="T11" fmla="*/ 1476 h 1476"/>
              <a:gd name="T12" fmla="*/ 377 w 1692"/>
              <a:gd name="T13" fmla="*/ 1035 h 1476"/>
              <a:gd name="T14" fmla="*/ 377 w 1692"/>
              <a:gd name="T15" fmla="*/ 1085 h 1476"/>
              <a:gd name="T16" fmla="*/ 377 w 1692"/>
              <a:gd name="T17" fmla="*/ 1088 h 1476"/>
              <a:gd name="T18" fmla="*/ 0 w 1692"/>
              <a:gd name="T19" fmla="*/ 1088 h 1476"/>
              <a:gd name="T20" fmla="*/ 1 w 1692"/>
              <a:gd name="T21" fmla="*/ 1085 h 1476"/>
              <a:gd name="T22" fmla="*/ 0 w 1692"/>
              <a:gd name="T23" fmla="*/ 1035 h 1476"/>
              <a:gd name="T24" fmla="*/ 189 w 1692"/>
              <a:gd name="T25" fmla="*/ 1065 h 1476"/>
              <a:gd name="T26" fmla="*/ 377 w 1692"/>
              <a:gd name="T27" fmla="*/ 1147 h 1476"/>
              <a:gd name="T28" fmla="*/ 377 w 1692"/>
              <a:gd name="T29" fmla="*/ 1197 h 1476"/>
              <a:gd name="T30" fmla="*/ 189 w 1692"/>
              <a:gd name="T31" fmla="*/ 1244 h 1476"/>
              <a:gd name="T32" fmla="*/ 1 w 1692"/>
              <a:gd name="T33" fmla="*/ 1197 h 1476"/>
              <a:gd name="T34" fmla="*/ 0 w 1692"/>
              <a:gd name="T35" fmla="*/ 1147 h 1476"/>
              <a:gd name="T36" fmla="*/ 189 w 1692"/>
              <a:gd name="T37" fmla="*/ 1177 h 1476"/>
              <a:gd name="T38" fmla="*/ 377 w 1692"/>
              <a:gd name="T39" fmla="*/ 1147 h 1476"/>
              <a:gd name="T40" fmla="*/ 189 w 1692"/>
              <a:gd name="T41" fmla="*/ 932 h 1476"/>
              <a:gd name="T42" fmla="*/ 189 w 1692"/>
              <a:gd name="T43" fmla="*/ 1021 h 1476"/>
              <a:gd name="T44" fmla="*/ 1647 w 1692"/>
              <a:gd name="T45" fmla="*/ 789 h 1476"/>
              <a:gd name="T46" fmla="*/ 1692 w 1692"/>
              <a:gd name="T47" fmla="*/ 823 h 1476"/>
              <a:gd name="T48" fmla="*/ 1692 w 1692"/>
              <a:gd name="T49" fmla="*/ 826 h 1476"/>
              <a:gd name="T50" fmla="*/ 1503 w 1692"/>
              <a:gd name="T51" fmla="*/ 872 h 1476"/>
              <a:gd name="T52" fmla="*/ 1315 w 1692"/>
              <a:gd name="T53" fmla="*/ 826 h 1476"/>
              <a:gd name="T54" fmla="*/ 1315 w 1692"/>
              <a:gd name="T55" fmla="*/ 823 h 1476"/>
              <a:gd name="T56" fmla="*/ 1360 w 1692"/>
              <a:gd name="T57" fmla="*/ 789 h 1476"/>
              <a:gd name="T58" fmla="*/ 1647 w 1692"/>
              <a:gd name="T59" fmla="*/ 789 h 1476"/>
              <a:gd name="T60" fmla="*/ 1692 w 1692"/>
              <a:gd name="T61" fmla="*/ 935 h 1476"/>
              <a:gd name="T62" fmla="*/ 1692 w 1692"/>
              <a:gd name="T63" fmla="*/ 937 h 1476"/>
              <a:gd name="T64" fmla="*/ 1315 w 1692"/>
              <a:gd name="T65" fmla="*/ 937 h 1476"/>
              <a:gd name="T66" fmla="*/ 1315 w 1692"/>
              <a:gd name="T67" fmla="*/ 935 h 1476"/>
              <a:gd name="T68" fmla="*/ 1360 w 1692"/>
              <a:gd name="T69" fmla="*/ 901 h 1476"/>
              <a:gd name="T70" fmla="*/ 1647 w 1692"/>
              <a:gd name="T71" fmla="*/ 901 h 1476"/>
              <a:gd name="T72" fmla="*/ 1315 w 1692"/>
              <a:gd name="T73" fmla="*/ 715 h 1476"/>
              <a:gd name="T74" fmla="*/ 1692 w 1692"/>
              <a:gd name="T75" fmla="*/ 715 h 1476"/>
              <a:gd name="T76" fmla="*/ 1315 w 1692"/>
              <a:gd name="T77" fmla="*/ 715 h 14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692" h="1476">
                <a:moveTo>
                  <a:pt x="1313" y="1476"/>
                </a:moveTo>
                <a:cubicBezTo>
                  <a:pt x="1313" y="1476"/>
                  <a:pt x="1313" y="1476"/>
                  <a:pt x="897" y="1476"/>
                </a:cubicBezTo>
                <a:cubicBezTo>
                  <a:pt x="897" y="1476"/>
                  <a:pt x="897" y="1476"/>
                  <a:pt x="792" y="1476"/>
                </a:cubicBezTo>
                <a:cubicBezTo>
                  <a:pt x="792" y="1476"/>
                  <a:pt x="792" y="1476"/>
                  <a:pt x="379" y="1476"/>
                </a:cubicBezTo>
                <a:cubicBezTo>
                  <a:pt x="379" y="1372"/>
                  <a:pt x="792" y="1389"/>
                  <a:pt x="792" y="1344"/>
                </a:cubicBezTo>
                <a:cubicBezTo>
                  <a:pt x="792" y="1300"/>
                  <a:pt x="792" y="335"/>
                  <a:pt x="792" y="179"/>
                </a:cubicBezTo>
                <a:cubicBezTo>
                  <a:pt x="765" y="162"/>
                  <a:pt x="748" y="132"/>
                  <a:pt x="748" y="98"/>
                </a:cubicBezTo>
                <a:cubicBezTo>
                  <a:pt x="748" y="44"/>
                  <a:pt x="792" y="0"/>
                  <a:pt x="846" y="0"/>
                </a:cubicBezTo>
                <a:cubicBezTo>
                  <a:pt x="900" y="0"/>
                  <a:pt x="944" y="44"/>
                  <a:pt x="944" y="98"/>
                </a:cubicBezTo>
                <a:cubicBezTo>
                  <a:pt x="944" y="133"/>
                  <a:pt x="925" y="164"/>
                  <a:pt x="897" y="182"/>
                </a:cubicBezTo>
                <a:cubicBezTo>
                  <a:pt x="897" y="351"/>
                  <a:pt x="897" y="1310"/>
                  <a:pt x="897" y="1344"/>
                </a:cubicBezTo>
                <a:cubicBezTo>
                  <a:pt x="897" y="1382"/>
                  <a:pt x="1313" y="1370"/>
                  <a:pt x="1313" y="1476"/>
                </a:cubicBezTo>
                <a:close/>
                <a:moveTo>
                  <a:pt x="332" y="1051"/>
                </a:moveTo>
                <a:cubicBezTo>
                  <a:pt x="350" y="1046"/>
                  <a:pt x="365" y="1041"/>
                  <a:pt x="377" y="1035"/>
                </a:cubicBezTo>
                <a:cubicBezTo>
                  <a:pt x="377" y="1085"/>
                  <a:pt x="377" y="1085"/>
                  <a:pt x="377" y="1085"/>
                </a:cubicBezTo>
                <a:cubicBezTo>
                  <a:pt x="377" y="1085"/>
                  <a:pt x="377" y="1085"/>
                  <a:pt x="377" y="1085"/>
                </a:cubicBezTo>
                <a:cubicBezTo>
                  <a:pt x="377" y="1086"/>
                  <a:pt x="377" y="1087"/>
                  <a:pt x="377" y="1088"/>
                </a:cubicBezTo>
                <a:cubicBezTo>
                  <a:pt x="377" y="1088"/>
                  <a:pt x="377" y="1088"/>
                  <a:pt x="377" y="1088"/>
                </a:cubicBezTo>
                <a:cubicBezTo>
                  <a:pt x="377" y="1113"/>
                  <a:pt x="293" y="1133"/>
                  <a:pt x="189" y="1133"/>
                </a:cubicBezTo>
                <a:cubicBezTo>
                  <a:pt x="85" y="1133"/>
                  <a:pt x="0" y="1113"/>
                  <a:pt x="0" y="1088"/>
                </a:cubicBezTo>
                <a:cubicBezTo>
                  <a:pt x="0" y="1088"/>
                  <a:pt x="0" y="1088"/>
                  <a:pt x="0" y="1088"/>
                </a:cubicBezTo>
                <a:cubicBezTo>
                  <a:pt x="0" y="1087"/>
                  <a:pt x="0" y="1086"/>
                  <a:pt x="1" y="1085"/>
                </a:cubicBezTo>
                <a:cubicBezTo>
                  <a:pt x="0" y="1085"/>
                  <a:pt x="0" y="1085"/>
                  <a:pt x="0" y="1085"/>
                </a:cubicBezTo>
                <a:cubicBezTo>
                  <a:pt x="0" y="1035"/>
                  <a:pt x="0" y="1035"/>
                  <a:pt x="0" y="1035"/>
                </a:cubicBezTo>
                <a:cubicBezTo>
                  <a:pt x="12" y="1041"/>
                  <a:pt x="27" y="1046"/>
                  <a:pt x="45" y="1051"/>
                </a:cubicBezTo>
                <a:cubicBezTo>
                  <a:pt x="84" y="1060"/>
                  <a:pt x="135" y="1065"/>
                  <a:pt x="189" y="1065"/>
                </a:cubicBezTo>
                <a:cubicBezTo>
                  <a:pt x="242" y="1065"/>
                  <a:pt x="293" y="1060"/>
                  <a:pt x="332" y="1051"/>
                </a:cubicBezTo>
                <a:close/>
                <a:moveTo>
                  <a:pt x="377" y="1147"/>
                </a:moveTo>
                <a:cubicBezTo>
                  <a:pt x="377" y="1197"/>
                  <a:pt x="377" y="1197"/>
                  <a:pt x="377" y="1197"/>
                </a:cubicBezTo>
                <a:cubicBezTo>
                  <a:pt x="377" y="1197"/>
                  <a:pt x="377" y="1197"/>
                  <a:pt x="377" y="1197"/>
                </a:cubicBezTo>
                <a:cubicBezTo>
                  <a:pt x="377" y="1197"/>
                  <a:pt x="377" y="1198"/>
                  <a:pt x="377" y="1199"/>
                </a:cubicBezTo>
                <a:cubicBezTo>
                  <a:pt x="375" y="1224"/>
                  <a:pt x="292" y="1244"/>
                  <a:pt x="189" y="1244"/>
                </a:cubicBezTo>
                <a:cubicBezTo>
                  <a:pt x="86" y="1244"/>
                  <a:pt x="2" y="1224"/>
                  <a:pt x="0" y="1199"/>
                </a:cubicBezTo>
                <a:cubicBezTo>
                  <a:pt x="0" y="1198"/>
                  <a:pt x="0" y="1197"/>
                  <a:pt x="1" y="1197"/>
                </a:cubicBezTo>
                <a:cubicBezTo>
                  <a:pt x="0" y="1197"/>
                  <a:pt x="0" y="1197"/>
                  <a:pt x="0" y="1197"/>
                </a:cubicBezTo>
                <a:cubicBezTo>
                  <a:pt x="0" y="1147"/>
                  <a:pt x="0" y="1147"/>
                  <a:pt x="0" y="1147"/>
                </a:cubicBezTo>
                <a:cubicBezTo>
                  <a:pt x="12" y="1153"/>
                  <a:pt x="27" y="1158"/>
                  <a:pt x="45" y="1163"/>
                </a:cubicBezTo>
                <a:cubicBezTo>
                  <a:pt x="84" y="1172"/>
                  <a:pt x="135" y="1177"/>
                  <a:pt x="189" y="1177"/>
                </a:cubicBezTo>
                <a:cubicBezTo>
                  <a:pt x="242" y="1177"/>
                  <a:pt x="293" y="1172"/>
                  <a:pt x="332" y="1163"/>
                </a:cubicBezTo>
                <a:cubicBezTo>
                  <a:pt x="350" y="1158"/>
                  <a:pt x="365" y="1153"/>
                  <a:pt x="377" y="1147"/>
                </a:cubicBezTo>
                <a:close/>
                <a:moveTo>
                  <a:pt x="0" y="977"/>
                </a:moveTo>
                <a:cubicBezTo>
                  <a:pt x="3" y="952"/>
                  <a:pt x="86" y="932"/>
                  <a:pt x="189" y="932"/>
                </a:cubicBezTo>
                <a:cubicBezTo>
                  <a:pt x="291" y="932"/>
                  <a:pt x="375" y="952"/>
                  <a:pt x="377" y="977"/>
                </a:cubicBezTo>
                <a:cubicBezTo>
                  <a:pt x="375" y="1001"/>
                  <a:pt x="291" y="1021"/>
                  <a:pt x="189" y="1021"/>
                </a:cubicBezTo>
                <a:cubicBezTo>
                  <a:pt x="86" y="1021"/>
                  <a:pt x="3" y="1001"/>
                  <a:pt x="0" y="977"/>
                </a:cubicBezTo>
                <a:close/>
                <a:moveTo>
                  <a:pt x="1647" y="789"/>
                </a:moveTo>
                <a:cubicBezTo>
                  <a:pt x="1665" y="785"/>
                  <a:pt x="1680" y="780"/>
                  <a:pt x="1692" y="774"/>
                </a:cubicBezTo>
                <a:cubicBezTo>
                  <a:pt x="1692" y="823"/>
                  <a:pt x="1692" y="823"/>
                  <a:pt x="1692" y="823"/>
                </a:cubicBezTo>
                <a:cubicBezTo>
                  <a:pt x="1691" y="823"/>
                  <a:pt x="1691" y="823"/>
                  <a:pt x="1691" y="823"/>
                </a:cubicBezTo>
                <a:cubicBezTo>
                  <a:pt x="1692" y="824"/>
                  <a:pt x="1692" y="825"/>
                  <a:pt x="1692" y="826"/>
                </a:cubicBezTo>
                <a:cubicBezTo>
                  <a:pt x="1692" y="826"/>
                  <a:pt x="1692" y="826"/>
                  <a:pt x="1692" y="826"/>
                </a:cubicBezTo>
                <a:cubicBezTo>
                  <a:pt x="1692" y="852"/>
                  <a:pt x="1607" y="872"/>
                  <a:pt x="1503" y="872"/>
                </a:cubicBezTo>
                <a:cubicBezTo>
                  <a:pt x="1399" y="872"/>
                  <a:pt x="1315" y="852"/>
                  <a:pt x="1315" y="826"/>
                </a:cubicBezTo>
                <a:cubicBezTo>
                  <a:pt x="1315" y="826"/>
                  <a:pt x="1315" y="826"/>
                  <a:pt x="1315" y="826"/>
                </a:cubicBezTo>
                <a:cubicBezTo>
                  <a:pt x="1315" y="825"/>
                  <a:pt x="1315" y="824"/>
                  <a:pt x="1315" y="823"/>
                </a:cubicBezTo>
                <a:cubicBezTo>
                  <a:pt x="1315" y="823"/>
                  <a:pt x="1315" y="823"/>
                  <a:pt x="1315" y="823"/>
                </a:cubicBezTo>
                <a:cubicBezTo>
                  <a:pt x="1315" y="774"/>
                  <a:pt x="1315" y="774"/>
                  <a:pt x="1315" y="774"/>
                </a:cubicBezTo>
                <a:cubicBezTo>
                  <a:pt x="1327" y="780"/>
                  <a:pt x="1342" y="785"/>
                  <a:pt x="1360" y="789"/>
                </a:cubicBezTo>
                <a:cubicBezTo>
                  <a:pt x="1399" y="799"/>
                  <a:pt x="1450" y="804"/>
                  <a:pt x="1503" y="804"/>
                </a:cubicBezTo>
                <a:cubicBezTo>
                  <a:pt x="1557" y="804"/>
                  <a:pt x="1608" y="799"/>
                  <a:pt x="1647" y="789"/>
                </a:cubicBezTo>
                <a:close/>
                <a:moveTo>
                  <a:pt x="1692" y="886"/>
                </a:moveTo>
                <a:cubicBezTo>
                  <a:pt x="1692" y="935"/>
                  <a:pt x="1692" y="935"/>
                  <a:pt x="1692" y="935"/>
                </a:cubicBezTo>
                <a:cubicBezTo>
                  <a:pt x="1691" y="935"/>
                  <a:pt x="1691" y="935"/>
                  <a:pt x="1691" y="935"/>
                </a:cubicBezTo>
                <a:cubicBezTo>
                  <a:pt x="1692" y="936"/>
                  <a:pt x="1692" y="937"/>
                  <a:pt x="1692" y="937"/>
                </a:cubicBezTo>
                <a:cubicBezTo>
                  <a:pt x="1690" y="962"/>
                  <a:pt x="1606" y="982"/>
                  <a:pt x="1503" y="982"/>
                </a:cubicBezTo>
                <a:cubicBezTo>
                  <a:pt x="1400" y="982"/>
                  <a:pt x="1317" y="962"/>
                  <a:pt x="1315" y="937"/>
                </a:cubicBezTo>
                <a:cubicBezTo>
                  <a:pt x="1315" y="937"/>
                  <a:pt x="1315" y="936"/>
                  <a:pt x="1315" y="935"/>
                </a:cubicBezTo>
                <a:cubicBezTo>
                  <a:pt x="1315" y="935"/>
                  <a:pt x="1315" y="935"/>
                  <a:pt x="1315" y="935"/>
                </a:cubicBezTo>
                <a:cubicBezTo>
                  <a:pt x="1315" y="886"/>
                  <a:pt x="1315" y="886"/>
                  <a:pt x="1315" y="886"/>
                </a:cubicBezTo>
                <a:cubicBezTo>
                  <a:pt x="1327" y="892"/>
                  <a:pt x="1342" y="897"/>
                  <a:pt x="1360" y="901"/>
                </a:cubicBezTo>
                <a:cubicBezTo>
                  <a:pt x="1399" y="911"/>
                  <a:pt x="1450" y="916"/>
                  <a:pt x="1503" y="916"/>
                </a:cubicBezTo>
                <a:cubicBezTo>
                  <a:pt x="1557" y="916"/>
                  <a:pt x="1608" y="911"/>
                  <a:pt x="1647" y="901"/>
                </a:cubicBezTo>
                <a:cubicBezTo>
                  <a:pt x="1665" y="897"/>
                  <a:pt x="1680" y="892"/>
                  <a:pt x="1692" y="886"/>
                </a:cubicBezTo>
                <a:close/>
                <a:moveTo>
                  <a:pt x="1315" y="715"/>
                </a:moveTo>
                <a:cubicBezTo>
                  <a:pt x="1317" y="690"/>
                  <a:pt x="1401" y="671"/>
                  <a:pt x="1503" y="671"/>
                </a:cubicBezTo>
                <a:cubicBezTo>
                  <a:pt x="1606" y="671"/>
                  <a:pt x="1689" y="690"/>
                  <a:pt x="1692" y="715"/>
                </a:cubicBezTo>
                <a:cubicBezTo>
                  <a:pt x="1689" y="740"/>
                  <a:pt x="1606" y="760"/>
                  <a:pt x="1503" y="760"/>
                </a:cubicBezTo>
                <a:cubicBezTo>
                  <a:pt x="1401" y="760"/>
                  <a:pt x="1317" y="740"/>
                  <a:pt x="1315" y="715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pic>
        <p:nvPicPr>
          <p:cNvPr id="124" name="Рисунок 123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4614" y="3132067"/>
            <a:ext cx="472808" cy="472808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</p:pic>
      <p:sp>
        <p:nvSpPr>
          <p:cNvPr id="127" name="Freeform 5">
            <a:extLst>
              <a:ext uri="{FF2B5EF4-FFF2-40B4-BE49-F238E27FC236}">
                <a16:creationId xmlns="" xmlns:a16="http://schemas.microsoft.com/office/drawing/2014/main" id="{635C37A3-4872-4D68-B937-AF240485678A}"/>
              </a:ext>
            </a:extLst>
          </p:cNvPr>
          <p:cNvSpPr>
            <a:spLocks noEditPoints="1"/>
          </p:cNvSpPr>
          <p:nvPr/>
        </p:nvSpPr>
        <p:spPr bwMode="auto">
          <a:xfrm>
            <a:off x="2676680" y="4093388"/>
            <a:ext cx="385185" cy="342573"/>
          </a:xfrm>
          <a:custGeom>
            <a:avLst/>
            <a:gdLst>
              <a:gd name="T0" fmla="*/ 182 w 1457"/>
              <a:gd name="T1" fmla="*/ 441 h 1295"/>
              <a:gd name="T2" fmla="*/ 163 w 1457"/>
              <a:gd name="T3" fmla="*/ 326 h 1295"/>
              <a:gd name="T4" fmla="*/ 724 w 1457"/>
              <a:gd name="T5" fmla="*/ 120 h 1295"/>
              <a:gd name="T6" fmla="*/ 1145 w 1457"/>
              <a:gd name="T7" fmla="*/ 295 h 1295"/>
              <a:gd name="T8" fmla="*/ 1419 w 1457"/>
              <a:gd name="T9" fmla="*/ 153 h 1295"/>
              <a:gd name="T10" fmla="*/ 1457 w 1457"/>
              <a:gd name="T11" fmla="*/ 172 h 1295"/>
              <a:gd name="T12" fmla="*/ 1457 w 1457"/>
              <a:gd name="T13" fmla="*/ 660 h 1295"/>
              <a:gd name="T14" fmla="*/ 1449 w 1457"/>
              <a:gd name="T15" fmla="*/ 672 h 1295"/>
              <a:gd name="T16" fmla="*/ 1275 w 1457"/>
              <a:gd name="T17" fmla="*/ 716 h 1295"/>
              <a:gd name="T18" fmla="*/ 1263 w 1457"/>
              <a:gd name="T19" fmla="*/ 715 h 1295"/>
              <a:gd name="T20" fmla="*/ 668 w 1457"/>
              <a:gd name="T21" fmla="*/ 358 h 1295"/>
              <a:gd name="T22" fmla="*/ 462 w 1457"/>
              <a:gd name="T23" fmla="*/ 341 h 1295"/>
              <a:gd name="T24" fmla="*/ 421 w 1457"/>
              <a:gd name="T25" fmla="*/ 361 h 1295"/>
              <a:gd name="T26" fmla="*/ 182 w 1457"/>
              <a:gd name="T27" fmla="*/ 441 h 1295"/>
              <a:gd name="T28" fmla="*/ 592 w 1457"/>
              <a:gd name="T29" fmla="*/ 1039 h 1295"/>
              <a:gd name="T30" fmla="*/ 528 w 1457"/>
              <a:gd name="T31" fmla="*/ 1079 h 1295"/>
              <a:gd name="T32" fmla="*/ 472 w 1457"/>
              <a:gd name="T33" fmla="*/ 1191 h 1295"/>
              <a:gd name="T34" fmla="*/ 505 w 1457"/>
              <a:gd name="T35" fmla="*/ 1287 h 1295"/>
              <a:gd name="T36" fmla="*/ 505 w 1457"/>
              <a:gd name="T37" fmla="*/ 1287 h 1295"/>
              <a:gd name="T38" fmla="*/ 536 w 1457"/>
              <a:gd name="T39" fmla="*/ 1295 h 1295"/>
              <a:gd name="T40" fmla="*/ 601 w 1457"/>
              <a:gd name="T41" fmla="*/ 1255 h 1295"/>
              <a:gd name="T42" fmla="*/ 657 w 1457"/>
              <a:gd name="T43" fmla="*/ 1143 h 1295"/>
              <a:gd name="T44" fmla="*/ 624 w 1457"/>
              <a:gd name="T45" fmla="*/ 1046 h 1295"/>
              <a:gd name="T46" fmla="*/ 592 w 1457"/>
              <a:gd name="T47" fmla="*/ 1039 h 1295"/>
              <a:gd name="T48" fmla="*/ 462 w 1457"/>
              <a:gd name="T49" fmla="*/ 901 h 1295"/>
              <a:gd name="T50" fmla="*/ 397 w 1457"/>
              <a:gd name="T51" fmla="*/ 941 h 1295"/>
              <a:gd name="T52" fmla="*/ 307 w 1457"/>
              <a:gd name="T53" fmla="*/ 1123 h 1295"/>
              <a:gd name="T54" fmla="*/ 339 w 1457"/>
              <a:gd name="T55" fmla="*/ 1219 h 1295"/>
              <a:gd name="T56" fmla="*/ 339 w 1457"/>
              <a:gd name="T57" fmla="*/ 1219 h 1295"/>
              <a:gd name="T58" fmla="*/ 371 w 1457"/>
              <a:gd name="T59" fmla="*/ 1227 h 1295"/>
              <a:gd name="T60" fmla="*/ 435 w 1457"/>
              <a:gd name="T61" fmla="*/ 1187 h 1295"/>
              <a:gd name="T62" fmla="*/ 526 w 1457"/>
              <a:gd name="T63" fmla="*/ 1005 h 1295"/>
              <a:gd name="T64" fmla="*/ 493 w 1457"/>
              <a:gd name="T65" fmla="*/ 909 h 1295"/>
              <a:gd name="T66" fmla="*/ 493 w 1457"/>
              <a:gd name="T67" fmla="*/ 909 h 1295"/>
              <a:gd name="T68" fmla="*/ 462 w 1457"/>
              <a:gd name="T69" fmla="*/ 901 h 1295"/>
              <a:gd name="T70" fmla="*/ 298 w 1457"/>
              <a:gd name="T71" fmla="*/ 829 h 1295"/>
              <a:gd name="T72" fmla="*/ 233 w 1457"/>
              <a:gd name="T73" fmla="*/ 869 h 1295"/>
              <a:gd name="T74" fmla="*/ 150 w 1457"/>
              <a:gd name="T75" fmla="*/ 1036 h 1295"/>
              <a:gd name="T76" fmla="*/ 183 w 1457"/>
              <a:gd name="T77" fmla="*/ 1132 h 1295"/>
              <a:gd name="T78" fmla="*/ 215 w 1457"/>
              <a:gd name="T79" fmla="*/ 1140 h 1295"/>
              <a:gd name="T80" fmla="*/ 279 w 1457"/>
              <a:gd name="T81" fmla="*/ 1100 h 1295"/>
              <a:gd name="T82" fmla="*/ 362 w 1457"/>
              <a:gd name="T83" fmla="*/ 933 h 1295"/>
              <a:gd name="T84" fmla="*/ 330 w 1457"/>
              <a:gd name="T85" fmla="*/ 837 h 1295"/>
              <a:gd name="T86" fmla="*/ 330 w 1457"/>
              <a:gd name="T87" fmla="*/ 837 h 1295"/>
              <a:gd name="T88" fmla="*/ 298 w 1457"/>
              <a:gd name="T89" fmla="*/ 829 h 1295"/>
              <a:gd name="T90" fmla="*/ 131 w 1457"/>
              <a:gd name="T91" fmla="*/ 762 h 1295"/>
              <a:gd name="T92" fmla="*/ 66 w 1457"/>
              <a:gd name="T93" fmla="*/ 802 h 1295"/>
              <a:gd name="T94" fmla="*/ 18 w 1457"/>
              <a:gd name="T95" fmla="*/ 900 h 1295"/>
              <a:gd name="T96" fmla="*/ 50 w 1457"/>
              <a:gd name="T97" fmla="*/ 996 h 1295"/>
              <a:gd name="T98" fmla="*/ 82 w 1457"/>
              <a:gd name="T99" fmla="*/ 1004 h 1295"/>
              <a:gd name="T100" fmla="*/ 146 w 1457"/>
              <a:gd name="T101" fmla="*/ 964 h 1295"/>
              <a:gd name="T102" fmla="*/ 195 w 1457"/>
              <a:gd name="T103" fmla="*/ 866 h 1295"/>
              <a:gd name="T104" fmla="*/ 162 w 1457"/>
              <a:gd name="T105" fmla="*/ 770 h 1295"/>
              <a:gd name="T106" fmla="*/ 131 w 1457"/>
              <a:gd name="T107" fmla="*/ 762 h 12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457" h="1295">
                <a:moveTo>
                  <a:pt x="182" y="441"/>
                </a:moveTo>
                <a:cubicBezTo>
                  <a:pt x="138" y="419"/>
                  <a:pt x="128" y="361"/>
                  <a:pt x="163" y="326"/>
                </a:cubicBezTo>
                <a:cubicBezTo>
                  <a:pt x="484" y="0"/>
                  <a:pt x="654" y="98"/>
                  <a:pt x="724" y="120"/>
                </a:cubicBezTo>
                <a:cubicBezTo>
                  <a:pt x="823" y="149"/>
                  <a:pt x="1071" y="278"/>
                  <a:pt x="1145" y="295"/>
                </a:cubicBezTo>
                <a:cubicBezTo>
                  <a:pt x="1199" y="308"/>
                  <a:pt x="1348" y="206"/>
                  <a:pt x="1419" y="153"/>
                </a:cubicBezTo>
                <a:cubicBezTo>
                  <a:pt x="1435" y="142"/>
                  <a:pt x="1457" y="153"/>
                  <a:pt x="1457" y="172"/>
                </a:cubicBezTo>
                <a:cubicBezTo>
                  <a:pt x="1457" y="172"/>
                  <a:pt x="1457" y="172"/>
                  <a:pt x="1457" y="660"/>
                </a:cubicBezTo>
                <a:cubicBezTo>
                  <a:pt x="1457" y="666"/>
                  <a:pt x="1454" y="670"/>
                  <a:pt x="1449" y="672"/>
                </a:cubicBezTo>
                <a:cubicBezTo>
                  <a:pt x="1449" y="672"/>
                  <a:pt x="1449" y="672"/>
                  <a:pt x="1275" y="716"/>
                </a:cubicBezTo>
                <a:cubicBezTo>
                  <a:pt x="1271" y="718"/>
                  <a:pt x="1266" y="717"/>
                  <a:pt x="1263" y="715"/>
                </a:cubicBezTo>
                <a:cubicBezTo>
                  <a:pt x="1207" y="679"/>
                  <a:pt x="737" y="382"/>
                  <a:pt x="668" y="358"/>
                </a:cubicBezTo>
                <a:cubicBezTo>
                  <a:pt x="614" y="338"/>
                  <a:pt x="510" y="340"/>
                  <a:pt x="462" y="341"/>
                </a:cubicBezTo>
                <a:cubicBezTo>
                  <a:pt x="446" y="342"/>
                  <a:pt x="431" y="349"/>
                  <a:pt x="421" y="361"/>
                </a:cubicBezTo>
                <a:cubicBezTo>
                  <a:pt x="320" y="472"/>
                  <a:pt x="237" y="468"/>
                  <a:pt x="182" y="441"/>
                </a:cubicBezTo>
                <a:close/>
                <a:moveTo>
                  <a:pt x="592" y="1039"/>
                </a:moveTo>
                <a:cubicBezTo>
                  <a:pt x="566" y="1039"/>
                  <a:pt x="541" y="1054"/>
                  <a:pt x="528" y="1079"/>
                </a:cubicBezTo>
                <a:cubicBezTo>
                  <a:pt x="472" y="1191"/>
                  <a:pt x="472" y="1191"/>
                  <a:pt x="472" y="1191"/>
                </a:cubicBezTo>
                <a:cubicBezTo>
                  <a:pt x="455" y="1227"/>
                  <a:pt x="469" y="1270"/>
                  <a:pt x="505" y="1287"/>
                </a:cubicBezTo>
                <a:cubicBezTo>
                  <a:pt x="505" y="1287"/>
                  <a:pt x="505" y="1287"/>
                  <a:pt x="505" y="1287"/>
                </a:cubicBezTo>
                <a:cubicBezTo>
                  <a:pt x="515" y="1292"/>
                  <a:pt x="526" y="1295"/>
                  <a:pt x="536" y="1295"/>
                </a:cubicBezTo>
                <a:cubicBezTo>
                  <a:pt x="563" y="1295"/>
                  <a:pt x="588" y="1280"/>
                  <a:pt x="601" y="1255"/>
                </a:cubicBezTo>
                <a:cubicBezTo>
                  <a:pt x="657" y="1143"/>
                  <a:pt x="657" y="1143"/>
                  <a:pt x="657" y="1143"/>
                </a:cubicBezTo>
                <a:cubicBezTo>
                  <a:pt x="674" y="1107"/>
                  <a:pt x="660" y="1064"/>
                  <a:pt x="624" y="1046"/>
                </a:cubicBezTo>
                <a:cubicBezTo>
                  <a:pt x="614" y="1041"/>
                  <a:pt x="603" y="1039"/>
                  <a:pt x="592" y="1039"/>
                </a:cubicBezTo>
                <a:moveTo>
                  <a:pt x="462" y="901"/>
                </a:moveTo>
                <a:cubicBezTo>
                  <a:pt x="435" y="901"/>
                  <a:pt x="410" y="916"/>
                  <a:pt x="397" y="941"/>
                </a:cubicBezTo>
                <a:cubicBezTo>
                  <a:pt x="307" y="1123"/>
                  <a:pt x="307" y="1123"/>
                  <a:pt x="307" y="1123"/>
                </a:cubicBezTo>
                <a:cubicBezTo>
                  <a:pt x="289" y="1159"/>
                  <a:pt x="304" y="1202"/>
                  <a:pt x="339" y="1219"/>
                </a:cubicBezTo>
                <a:cubicBezTo>
                  <a:pt x="339" y="1219"/>
                  <a:pt x="339" y="1219"/>
                  <a:pt x="339" y="1219"/>
                </a:cubicBezTo>
                <a:cubicBezTo>
                  <a:pt x="350" y="1224"/>
                  <a:pt x="360" y="1227"/>
                  <a:pt x="371" y="1227"/>
                </a:cubicBezTo>
                <a:cubicBezTo>
                  <a:pt x="397" y="1227"/>
                  <a:pt x="423" y="1212"/>
                  <a:pt x="435" y="1187"/>
                </a:cubicBezTo>
                <a:cubicBezTo>
                  <a:pt x="526" y="1005"/>
                  <a:pt x="526" y="1005"/>
                  <a:pt x="526" y="1005"/>
                </a:cubicBezTo>
                <a:cubicBezTo>
                  <a:pt x="543" y="970"/>
                  <a:pt x="529" y="927"/>
                  <a:pt x="493" y="909"/>
                </a:cubicBezTo>
                <a:cubicBezTo>
                  <a:pt x="493" y="909"/>
                  <a:pt x="493" y="909"/>
                  <a:pt x="493" y="909"/>
                </a:cubicBezTo>
                <a:cubicBezTo>
                  <a:pt x="483" y="904"/>
                  <a:pt x="472" y="901"/>
                  <a:pt x="462" y="901"/>
                </a:cubicBezTo>
                <a:moveTo>
                  <a:pt x="298" y="829"/>
                </a:moveTo>
                <a:cubicBezTo>
                  <a:pt x="271" y="829"/>
                  <a:pt x="246" y="844"/>
                  <a:pt x="233" y="869"/>
                </a:cubicBezTo>
                <a:cubicBezTo>
                  <a:pt x="150" y="1036"/>
                  <a:pt x="150" y="1036"/>
                  <a:pt x="150" y="1036"/>
                </a:cubicBezTo>
                <a:cubicBezTo>
                  <a:pt x="133" y="1072"/>
                  <a:pt x="147" y="1115"/>
                  <a:pt x="183" y="1132"/>
                </a:cubicBezTo>
                <a:cubicBezTo>
                  <a:pt x="193" y="1138"/>
                  <a:pt x="204" y="1140"/>
                  <a:pt x="215" y="1140"/>
                </a:cubicBezTo>
                <a:cubicBezTo>
                  <a:pt x="241" y="1140"/>
                  <a:pt x="266" y="1125"/>
                  <a:pt x="279" y="1100"/>
                </a:cubicBezTo>
                <a:cubicBezTo>
                  <a:pt x="362" y="933"/>
                  <a:pt x="362" y="933"/>
                  <a:pt x="362" y="933"/>
                </a:cubicBezTo>
                <a:cubicBezTo>
                  <a:pt x="379" y="898"/>
                  <a:pt x="365" y="855"/>
                  <a:pt x="330" y="837"/>
                </a:cubicBezTo>
                <a:cubicBezTo>
                  <a:pt x="330" y="837"/>
                  <a:pt x="330" y="837"/>
                  <a:pt x="330" y="837"/>
                </a:cubicBezTo>
                <a:cubicBezTo>
                  <a:pt x="319" y="832"/>
                  <a:pt x="308" y="829"/>
                  <a:pt x="298" y="829"/>
                </a:cubicBezTo>
                <a:moveTo>
                  <a:pt x="131" y="762"/>
                </a:moveTo>
                <a:cubicBezTo>
                  <a:pt x="104" y="762"/>
                  <a:pt x="79" y="777"/>
                  <a:pt x="66" y="802"/>
                </a:cubicBezTo>
                <a:cubicBezTo>
                  <a:pt x="18" y="900"/>
                  <a:pt x="18" y="900"/>
                  <a:pt x="18" y="900"/>
                </a:cubicBezTo>
                <a:cubicBezTo>
                  <a:pt x="0" y="936"/>
                  <a:pt x="14" y="979"/>
                  <a:pt x="50" y="996"/>
                </a:cubicBezTo>
                <a:cubicBezTo>
                  <a:pt x="60" y="1002"/>
                  <a:pt x="71" y="1004"/>
                  <a:pt x="82" y="1004"/>
                </a:cubicBezTo>
                <a:cubicBezTo>
                  <a:pt x="108" y="1004"/>
                  <a:pt x="133" y="989"/>
                  <a:pt x="146" y="964"/>
                </a:cubicBezTo>
                <a:cubicBezTo>
                  <a:pt x="195" y="866"/>
                  <a:pt x="195" y="866"/>
                  <a:pt x="195" y="866"/>
                </a:cubicBezTo>
                <a:cubicBezTo>
                  <a:pt x="212" y="830"/>
                  <a:pt x="198" y="787"/>
                  <a:pt x="162" y="770"/>
                </a:cubicBezTo>
                <a:cubicBezTo>
                  <a:pt x="152" y="765"/>
                  <a:pt x="141" y="762"/>
                  <a:pt x="131" y="762"/>
                </a:cubicBezTo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28" name="Freeform 6">
            <a:extLst>
              <a:ext uri="{FF2B5EF4-FFF2-40B4-BE49-F238E27FC236}">
                <a16:creationId xmlns="" xmlns:a16="http://schemas.microsoft.com/office/drawing/2014/main" id="{23479137-BE96-4407-88BC-DAA4B923DFDD}"/>
              </a:ext>
            </a:extLst>
          </p:cNvPr>
          <p:cNvSpPr>
            <a:spLocks noEditPoints="1"/>
          </p:cNvSpPr>
          <p:nvPr/>
        </p:nvSpPr>
        <p:spPr bwMode="auto">
          <a:xfrm>
            <a:off x="2613470" y="4115680"/>
            <a:ext cx="424268" cy="341727"/>
          </a:xfrm>
          <a:custGeom>
            <a:avLst/>
            <a:gdLst>
              <a:gd name="T0" fmla="*/ 262 w 1605"/>
              <a:gd name="T1" fmla="*/ 725 h 1292"/>
              <a:gd name="T2" fmla="*/ 15 w 1605"/>
              <a:gd name="T3" fmla="*/ 587 h 1292"/>
              <a:gd name="T4" fmla="*/ 0 w 1605"/>
              <a:gd name="T5" fmla="*/ 37 h 1292"/>
              <a:gd name="T6" fmla="*/ 36 w 1605"/>
              <a:gd name="T7" fmla="*/ 0 h 1292"/>
              <a:gd name="T8" fmla="*/ 155 w 1605"/>
              <a:gd name="T9" fmla="*/ 96 h 1292"/>
              <a:gd name="T10" fmla="*/ 324 w 1605"/>
              <a:gd name="T11" fmla="*/ 190 h 1292"/>
              <a:gd name="T12" fmla="*/ 364 w 1605"/>
              <a:gd name="T13" fmla="*/ 178 h 1292"/>
              <a:gd name="T14" fmla="*/ 366 w 1605"/>
              <a:gd name="T15" fmla="*/ 207 h 1292"/>
              <a:gd name="T16" fmla="*/ 324 w 1605"/>
              <a:gd name="T17" fmla="*/ 226 h 1292"/>
              <a:gd name="T18" fmla="*/ 36 w 1605"/>
              <a:gd name="T19" fmla="*/ 36 h 1292"/>
              <a:gd name="T20" fmla="*/ 1538 w 1605"/>
              <a:gd name="T21" fmla="*/ 719 h 1292"/>
              <a:gd name="T22" fmla="*/ 785 w 1605"/>
              <a:gd name="T23" fmla="*/ 307 h 1292"/>
              <a:gd name="T24" fmla="*/ 1544 w 1605"/>
              <a:gd name="T25" fmla="*/ 848 h 1292"/>
              <a:gd name="T26" fmla="*/ 1482 w 1605"/>
              <a:gd name="T27" fmla="*/ 883 h 1292"/>
              <a:gd name="T28" fmla="*/ 1236 w 1605"/>
              <a:gd name="T29" fmla="*/ 747 h 1292"/>
              <a:gd name="T30" fmla="*/ 1210 w 1605"/>
              <a:gd name="T31" fmla="*/ 752 h 1292"/>
              <a:gd name="T32" fmla="*/ 1380 w 1605"/>
              <a:gd name="T33" fmla="*/ 881 h 1292"/>
              <a:gd name="T34" fmla="*/ 1345 w 1605"/>
              <a:gd name="T35" fmla="*/ 1015 h 1292"/>
              <a:gd name="T36" fmla="*/ 1123 w 1605"/>
              <a:gd name="T37" fmla="*/ 893 h 1292"/>
              <a:gd name="T38" fmla="*/ 1098 w 1605"/>
              <a:gd name="T39" fmla="*/ 898 h 1292"/>
              <a:gd name="T40" fmla="*/ 1229 w 1605"/>
              <a:gd name="T41" fmla="*/ 1002 h 1292"/>
              <a:gd name="T42" fmla="*/ 1253 w 1605"/>
              <a:gd name="T43" fmla="*/ 1100 h 1292"/>
              <a:gd name="T44" fmla="*/ 1155 w 1605"/>
              <a:gd name="T45" fmla="*/ 1124 h 1292"/>
              <a:gd name="T46" fmla="*/ 986 w 1605"/>
              <a:gd name="T47" fmla="*/ 1044 h 1292"/>
              <a:gd name="T48" fmla="*/ 992 w 1605"/>
              <a:gd name="T49" fmla="*/ 1075 h 1292"/>
              <a:gd name="T50" fmla="*/ 1097 w 1605"/>
              <a:gd name="T51" fmla="*/ 1222 h 1292"/>
              <a:gd name="T52" fmla="*/ 998 w 1605"/>
              <a:gd name="T53" fmla="*/ 1246 h 1292"/>
              <a:gd name="T54" fmla="*/ 862 w 1605"/>
              <a:gd name="T55" fmla="*/ 1206 h 1292"/>
              <a:gd name="T56" fmla="*/ 1035 w 1605"/>
              <a:gd name="T57" fmla="*/ 1292 h 1292"/>
              <a:gd name="T58" fmla="*/ 1139 w 1605"/>
              <a:gd name="T59" fmla="*/ 1157 h 1292"/>
              <a:gd name="T60" fmla="*/ 1284 w 1605"/>
              <a:gd name="T61" fmla="*/ 1119 h 1292"/>
              <a:gd name="T62" fmla="*/ 1345 w 1605"/>
              <a:gd name="T63" fmla="*/ 1051 h 1292"/>
              <a:gd name="T64" fmla="*/ 1450 w 1605"/>
              <a:gd name="T65" fmla="*/ 917 h 1292"/>
              <a:gd name="T66" fmla="*/ 1482 w 1605"/>
              <a:gd name="T67" fmla="*/ 919 h 1292"/>
              <a:gd name="T68" fmla="*/ 1538 w 1605"/>
              <a:gd name="T69" fmla="*/ 719 h 1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605" h="1292">
                <a:moveTo>
                  <a:pt x="36" y="558"/>
                </a:moveTo>
                <a:cubicBezTo>
                  <a:pt x="262" y="725"/>
                  <a:pt x="262" y="725"/>
                  <a:pt x="262" y="725"/>
                </a:cubicBezTo>
                <a:cubicBezTo>
                  <a:pt x="246" y="757"/>
                  <a:pt x="246" y="757"/>
                  <a:pt x="246" y="757"/>
                </a:cubicBezTo>
                <a:cubicBezTo>
                  <a:pt x="15" y="587"/>
                  <a:pt x="15" y="587"/>
                  <a:pt x="15" y="587"/>
                </a:cubicBezTo>
                <a:cubicBezTo>
                  <a:pt x="6" y="580"/>
                  <a:pt x="0" y="569"/>
                  <a:pt x="0" y="558"/>
                </a:cubicBezTo>
                <a:cubicBezTo>
                  <a:pt x="0" y="37"/>
                  <a:pt x="0" y="37"/>
                  <a:pt x="0" y="37"/>
                </a:cubicBezTo>
                <a:cubicBezTo>
                  <a:pt x="0" y="24"/>
                  <a:pt x="7" y="11"/>
                  <a:pt x="18" y="5"/>
                </a:cubicBezTo>
                <a:cubicBezTo>
                  <a:pt x="24" y="1"/>
                  <a:pt x="30" y="0"/>
                  <a:pt x="36" y="0"/>
                </a:cubicBezTo>
                <a:cubicBezTo>
                  <a:pt x="45" y="0"/>
                  <a:pt x="54" y="3"/>
                  <a:pt x="61" y="9"/>
                </a:cubicBezTo>
                <a:cubicBezTo>
                  <a:pt x="155" y="96"/>
                  <a:pt x="155" y="96"/>
                  <a:pt x="155" y="96"/>
                </a:cubicBezTo>
                <a:cubicBezTo>
                  <a:pt x="156" y="97"/>
                  <a:pt x="156" y="97"/>
                  <a:pt x="156" y="97"/>
                </a:cubicBezTo>
                <a:cubicBezTo>
                  <a:pt x="182" y="123"/>
                  <a:pt x="263" y="190"/>
                  <a:pt x="324" y="190"/>
                </a:cubicBezTo>
                <a:cubicBezTo>
                  <a:pt x="336" y="190"/>
                  <a:pt x="346" y="187"/>
                  <a:pt x="355" y="182"/>
                </a:cubicBezTo>
                <a:cubicBezTo>
                  <a:pt x="358" y="180"/>
                  <a:pt x="361" y="179"/>
                  <a:pt x="364" y="178"/>
                </a:cubicBezTo>
                <a:cubicBezTo>
                  <a:pt x="413" y="161"/>
                  <a:pt x="413" y="161"/>
                  <a:pt x="413" y="161"/>
                </a:cubicBezTo>
                <a:cubicBezTo>
                  <a:pt x="397" y="176"/>
                  <a:pt x="382" y="191"/>
                  <a:pt x="366" y="207"/>
                </a:cubicBezTo>
                <a:cubicBezTo>
                  <a:pt x="361" y="212"/>
                  <a:pt x="357" y="217"/>
                  <a:pt x="353" y="222"/>
                </a:cubicBezTo>
                <a:cubicBezTo>
                  <a:pt x="344" y="225"/>
                  <a:pt x="334" y="226"/>
                  <a:pt x="324" y="226"/>
                </a:cubicBezTo>
                <a:cubicBezTo>
                  <a:pt x="234" y="226"/>
                  <a:pt x="131" y="123"/>
                  <a:pt x="131" y="123"/>
                </a:cubicBezTo>
                <a:cubicBezTo>
                  <a:pt x="36" y="36"/>
                  <a:pt x="36" y="36"/>
                  <a:pt x="36" y="36"/>
                </a:cubicBezTo>
                <a:lnTo>
                  <a:pt x="36" y="558"/>
                </a:lnTo>
                <a:close/>
                <a:moveTo>
                  <a:pt x="1538" y="719"/>
                </a:moveTo>
                <a:cubicBezTo>
                  <a:pt x="868" y="315"/>
                  <a:pt x="868" y="315"/>
                  <a:pt x="868" y="315"/>
                </a:cubicBezTo>
                <a:cubicBezTo>
                  <a:pt x="850" y="312"/>
                  <a:pt x="824" y="309"/>
                  <a:pt x="785" y="307"/>
                </a:cubicBezTo>
                <a:cubicBezTo>
                  <a:pt x="1520" y="750"/>
                  <a:pt x="1520" y="750"/>
                  <a:pt x="1520" y="750"/>
                </a:cubicBezTo>
                <a:cubicBezTo>
                  <a:pt x="1553" y="770"/>
                  <a:pt x="1564" y="814"/>
                  <a:pt x="1544" y="848"/>
                </a:cubicBezTo>
                <a:cubicBezTo>
                  <a:pt x="1544" y="848"/>
                  <a:pt x="1544" y="848"/>
                  <a:pt x="1544" y="848"/>
                </a:cubicBezTo>
                <a:cubicBezTo>
                  <a:pt x="1531" y="871"/>
                  <a:pt x="1507" y="883"/>
                  <a:pt x="1482" y="883"/>
                </a:cubicBezTo>
                <a:cubicBezTo>
                  <a:pt x="1470" y="883"/>
                  <a:pt x="1457" y="880"/>
                  <a:pt x="1446" y="873"/>
                </a:cubicBezTo>
                <a:cubicBezTo>
                  <a:pt x="1236" y="747"/>
                  <a:pt x="1236" y="747"/>
                  <a:pt x="1236" y="747"/>
                </a:cubicBezTo>
                <a:cubicBezTo>
                  <a:pt x="1227" y="741"/>
                  <a:pt x="1216" y="743"/>
                  <a:pt x="1210" y="752"/>
                </a:cubicBezTo>
                <a:cubicBezTo>
                  <a:pt x="1210" y="752"/>
                  <a:pt x="1210" y="752"/>
                  <a:pt x="1210" y="752"/>
                </a:cubicBezTo>
                <a:cubicBezTo>
                  <a:pt x="1202" y="761"/>
                  <a:pt x="1205" y="775"/>
                  <a:pt x="1215" y="781"/>
                </a:cubicBezTo>
                <a:cubicBezTo>
                  <a:pt x="1380" y="881"/>
                  <a:pt x="1380" y="881"/>
                  <a:pt x="1380" y="881"/>
                </a:cubicBezTo>
                <a:cubicBezTo>
                  <a:pt x="1414" y="901"/>
                  <a:pt x="1427" y="947"/>
                  <a:pt x="1406" y="981"/>
                </a:cubicBezTo>
                <a:cubicBezTo>
                  <a:pt x="1393" y="1003"/>
                  <a:pt x="1369" y="1015"/>
                  <a:pt x="1345" y="1015"/>
                </a:cubicBezTo>
                <a:cubicBezTo>
                  <a:pt x="1332" y="1015"/>
                  <a:pt x="1320" y="1012"/>
                  <a:pt x="1308" y="1005"/>
                </a:cubicBezTo>
                <a:cubicBezTo>
                  <a:pt x="1123" y="893"/>
                  <a:pt x="1123" y="893"/>
                  <a:pt x="1123" y="893"/>
                </a:cubicBezTo>
                <a:cubicBezTo>
                  <a:pt x="1115" y="888"/>
                  <a:pt x="1104" y="890"/>
                  <a:pt x="1098" y="898"/>
                </a:cubicBezTo>
                <a:cubicBezTo>
                  <a:pt x="1098" y="898"/>
                  <a:pt x="1098" y="898"/>
                  <a:pt x="1098" y="898"/>
                </a:cubicBezTo>
                <a:cubicBezTo>
                  <a:pt x="1091" y="907"/>
                  <a:pt x="1093" y="920"/>
                  <a:pt x="1103" y="926"/>
                </a:cubicBezTo>
                <a:cubicBezTo>
                  <a:pt x="1229" y="1002"/>
                  <a:pt x="1229" y="1002"/>
                  <a:pt x="1229" y="1002"/>
                </a:cubicBezTo>
                <a:cubicBezTo>
                  <a:pt x="1263" y="1022"/>
                  <a:pt x="1274" y="1066"/>
                  <a:pt x="1253" y="1100"/>
                </a:cubicBezTo>
                <a:cubicBezTo>
                  <a:pt x="1253" y="1100"/>
                  <a:pt x="1253" y="1100"/>
                  <a:pt x="1253" y="1100"/>
                </a:cubicBezTo>
                <a:cubicBezTo>
                  <a:pt x="1240" y="1122"/>
                  <a:pt x="1216" y="1135"/>
                  <a:pt x="1192" y="1135"/>
                </a:cubicBezTo>
                <a:cubicBezTo>
                  <a:pt x="1179" y="1135"/>
                  <a:pt x="1167" y="1131"/>
                  <a:pt x="1155" y="1124"/>
                </a:cubicBezTo>
                <a:cubicBezTo>
                  <a:pt x="1013" y="1039"/>
                  <a:pt x="1013" y="1039"/>
                  <a:pt x="1013" y="1039"/>
                </a:cubicBezTo>
                <a:cubicBezTo>
                  <a:pt x="1004" y="1033"/>
                  <a:pt x="992" y="1036"/>
                  <a:pt x="986" y="1044"/>
                </a:cubicBezTo>
                <a:cubicBezTo>
                  <a:pt x="986" y="1044"/>
                  <a:pt x="986" y="1044"/>
                  <a:pt x="986" y="1044"/>
                </a:cubicBezTo>
                <a:cubicBezTo>
                  <a:pt x="978" y="1054"/>
                  <a:pt x="981" y="1068"/>
                  <a:pt x="992" y="1075"/>
                </a:cubicBezTo>
                <a:cubicBezTo>
                  <a:pt x="1071" y="1122"/>
                  <a:pt x="1071" y="1122"/>
                  <a:pt x="1071" y="1122"/>
                </a:cubicBezTo>
                <a:cubicBezTo>
                  <a:pt x="1105" y="1143"/>
                  <a:pt x="1117" y="1188"/>
                  <a:pt x="1097" y="1222"/>
                </a:cubicBezTo>
                <a:cubicBezTo>
                  <a:pt x="1083" y="1244"/>
                  <a:pt x="1059" y="1256"/>
                  <a:pt x="1035" y="1256"/>
                </a:cubicBezTo>
                <a:cubicBezTo>
                  <a:pt x="1023" y="1256"/>
                  <a:pt x="1010" y="1253"/>
                  <a:pt x="998" y="1246"/>
                </a:cubicBezTo>
                <a:cubicBezTo>
                  <a:pt x="884" y="1177"/>
                  <a:pt x="884" y="1177"/>
                  <a:pt x="884" y="1177"/>
                </a:cubicBezTo>
                <a:cubicBezTo>
                  <a:pt x="862" y="1206"/>
                  <a:pt x="862" y="1206"/>
                  <a:pt x="862" y="1206"/>
                </a:cubicBezTo>
                <a:cubicBezTo>
                  <a:pt x="980" y="1277"/>
                  <a:pt x="980" y="1277"/>
                  <a:pt x="980" y="1277"/>
                </a:cubicBezTo>
                <a:cubicBezTo>
                  <a:pt x="997" y="1287"/>
                  <a:pt x="1016" y="1292"/>
                  <a:pt x="1035" y="1292"/>
                </a:cubicBezTo>
                <a:cubicBezTo>
                  <a:pt x="1073" y="1292"/>
                  <a:pt x="1108" y="1272"/>
                  <a:pt x="1128" y="1240"/>
                </a:cubicBezTo>
                <a:cubicBezTo>
                  <a:pt x="1143" y="1214"/>
                  <a:pt x="1147" y="1184"/>
                  <a:pt x="1139" y="1157"/>
                </a:cubicBezTo>
                <a:cubicBezTo>
                  <a:pt x="1155" y="1166"/>
                  <a:pt x="1174" y="1171"/>
                  <a:pt x="1192" y="1171"/>
                </a:cubicBezTo>
                <a:cubicBezTo>
                  <a:pt x="1230" y="1171"/>
                  <a:pt x="1265" y="1151"/>
                  <a:pt x="1284" y="1119"/>
                </a:cubicBezTo>
                <a:cubicBezTo>
                  <a:pt x="1299" y="1094"/>
                  <a:pt x="1303" y="1066"/>
                  <a:pt x="1297" y="1040"/>
                </a:cubicBezTo>
                <a:cubicBezTo>
                  <a:pt x="1312" y="1047"/>
                  <a:pt x="1328" y="1051"/>
                  <a:pt x="1345" y="1051"/>
                </a:cubicBezTo>
                <a:cubicBezTo>
                  <a:pt x="1383" y="1051"/>
                  <a:pt x="1418" y="1031"/>
                  <a:pt x="1437" y="999"/>
                </a:cubicBezTo>
                <a:cubicBezTo>
                  <a:pt x="1452" y="974"/>
                  <a:pt x="1457" y="945"/>
                  <a:pt x="1450" y="917"/>
                </a:cubicBezTo>
                <a:cubicBezTo>
                  <a:pt x="1449" y="916"/>
                  <a:pt x="1449" y="915"/>
                  <a:pt x="1449" y="913"/>
                </a:cubicBezTo>
                <a:cubicBezTo>
                  <a:pt x="1459" y="917"/>
                  <a:pt x="1471" y="919"/>
                  <a:pt x="1482" y="919"/>
                </a:cubicBezTo>
                <a:cubicBezTo>
                  <a:pt x="1520" y="919"/>
                  <a:pt x="1555" y="899"/>
                  <a:pt x="1575" y="867"/>
                </a:cubicBezTo>
                <a:cubicBezTo>
                  <a:pt x="1605" y="816"/>
                  <a:pt x="1589" y="750"/>
                  <a:pt x="1538" y="719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grpSp>
        <p:nvGrpSpPr>
          <p:cNvPr id="129" name="Группа 128"/>
          <p:cNvGrpSpPr/>
          <p:nvPr/>
        </p:nvGrpSpPr>
        <p:grpSpPr>
          <a:xfrm>
            <a:off x="6770303" y="2030590"/>
            <a:ext cx="435801" cy="302259"/>
            <a:chOff x="951977" y="5172704"/>
            <a:chExt cx="435801" cy="302259"/>
          </a:xfrm>
          <a:solidFill>
            <a:schemeClr val="bg1"/>
          </a:solidFill>
        </p:grpSpPr>
        <p:sp>
          <p:nvSpPr>
            <p:cNvPr id="130" name="Freeform 17">
              <a:extLst>
                <a:ext uri="{FF2B5EF4-FFF2-40B4-BE49-F238E27FC236}">
                  <a16:creationId xmlns="" xmlns:a16="http://schemas.microsoft.com/office/drawing/2014/main" id="{7922D2F5-67CA-4CC8-A112-56DB64B80F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1977" y="5172704"/>
              <a:ext cx="425652" cy="300298"/>
            </a:xfrm>
            <a:custGeom>
              <a:avLst/>
              <a:gdLst>
                <a:gd name="T0" fmla="*/ 681 w 1970"/>
                <a:gd name="T1" fmla="*/ 1231 h 1389"/>
                <a:gd name="T2" fmla="*/ 681 w 1970"/>
                <a:gd name="T3" fmla="*/ 1303 h 1389"/>
                <a:gd name="T4" fmla="*/ 670 w 1970"/>
                <a:gd name="T5" fmla="*/ 1322 h 1389"/>
                <a:gd name="T6" fmla="*/ 395 w 1970"/>
                <a:gd name="T7" fmla="*/ 1389 h 1389"/>
                <a:gd name="T8" fmla="*/ 370 w 1970"/>
                <a:gd name="T9" fmla="*/ 1389 h 1389"/>
                <a:gd name="T10" fmla="*/ 350 w 1970"/>
                <a:gd name="T11" fmla="*/ 1367 h 1389"/>
                <a:gd name="T12" fmla="*/ 350 w 1970"/>
                <a:gd name="T13" fmla="*/ 1176 h 1389"/>
                <a:gd name="T14" fmla="*/ 271 w 1970"/>
                <a:gd name="T15" fmla="*/ 1180 h 1389"/>
                <a:gd name="T16" fmla="*/ 136 w 1970"/>
                <a:gd name="T17" fmla="*/ 1155 h 1389"/>
                <a:gd name="T18" fmla="*/ 112 w 1970"/>
                <a:gd name="T19" fmla="*/ 1014 h 1389"/>
                <a:gd name="T20" fmla="*/ 114 w 1970"/>
                <a:gd name="T21" fmla="*/ 935 h 1389"/>
                <a:gd name="T22" fmla="*/ 12 w 1970"/>
                <a:gd name="T23" fmla="*/ 887 h 1389"/>
                <a:gd name="T24" fmla="*/ 52 w 1970"/>
                <a:gd name="T25" fmla="*/ 797 h 1389"/>
                <a:gd name="T26" fmla="*/ 100 w 1970"/>
                <a:gd name="T27" fmla="*/ 721 h 1389"/>
                <a:gd name="T28" fmla="*/ 105 w 1970"/>
                <a:gd name="T29" fmla="*/ 652 h 1389"/>
                <a:gd name="T30" fmla="*/ 107 w 1970"/>
                <a:gd name="T31" fmla="*/ 607 h 1389"/>
                <a:gd name="T32" fmla="*/ 120 w 1970"/>
                <a:gd name="T33" fmla="*/ 531 h 1389"/>
                <a:gd name="T34" fmla="*/ 155 w 1970"/>
                <a:gd name="T35" fmla="*/ 579 h 1389"/>
                <a:gd name="T36" fmla="*/ 151 w 1970"/>
                <a:gd name="T37" fmla="*/ 611 h 1389"/>
                <a:gd name="T38" fmla="*/ 149 w 1970"/>
                <a:gd name="T39" fmla="*/ 653 h 1389"/>
                <a:gd name="T40" fmla="*/ 141 w 1970"/>
                <a:gd name="T41" fmla="*/ 737 h 1389"/>
                <a:gd name="T42" fmla="*/ 83 w 1970"/>
                <a:gd name="T43" fmla="*/ 828 h 1389"/>
                <a:gd name="T44" fmla="*/ 54 w 1970"/>
                <a:gd name="T45" fmla="*/ 871 h 1389"/>
                <a:gd name="T46" fmla="*/ 135 w 1970"/>
                <a:gd name="T47" fmla="*/ 890 h 1389"/>
                <a:gd name="T48" fmla="*/ 153 w 1970"/>
                <a:gd name="T49" fmla="*/ 896 h 1389"/>
                <a:gd name="T50" fmla="*/ 159 w 1970"/>
                <a:gd name="T51" fmla="*/ 913 h 1389"/>
                <a:gd name="T52" fmla="*/ 168 w 1970"/>
                <a:gd name="T53" fmla="*/ 1124 h 1389"/>
                <a:gd name="T54" fmla="*/ 268 w 1970"/>
                <a:gd name="T55" fmla="*/ 1136 h 1389"/>
                <a:gd name="T56" fmla="*/ 366 w 1970"/>
                <a:gd name="T57" fmla="*/ 1130 h 1389"/>
                <a:gd name="T58" fmla="*/ 384 w 1970"/>
                <a:gd name="T59" fmla="*/ 1133 h 1389"/>
                <a:gd name="T60" fmla="*/ 394 w 1970"/>
                <a:gd name="T61" fmla="*/ 1152 h 1389"/>
                <a:gd name="T62" fmla="*/ 394 w 1970"/>
                <a:gd name="T63" fmla="*/ 1345 h 1389"/>
                <a:gd name="T64" fmla="*/ 637 w 1970"/>
                <a:gd name="T65" fmla="*/ 1291 h 1389"/>
                <a:gd name="T66" fmla="*/ 637 w 1970"/>
                <a:gd name="T67" fmla="*/ 1244 h 1389"/>
                <a:gd name="T68" fmla="*/ 681 w 1970"/>
                <a:gd name="T69" fmla="*/ 1231 h 1389"/>
                <a:gd name="T70" fmla="*/ 1936 w 1970"/>
                <a:gd name="T71" fmla="*/ 80 h 1389"/>
                <a:gd name="T72" fmla="*/ 1396 w 1970"/>
                <a:gd name="T73" fmla="*/ 0 h 1389"/>
                <a:gd name="T74" fmla="*/ 880 w 1970"/>
                <a:gd name="T75" fmla="*/ 329 h 1389"/>
                <a:gd name="T76" fmla="*/ 1107 w 1970"/>
                <a:gd name="T77" fmla="*/ 1025 h 1389"/>
                <a:gd name="T78" fmla="*/ 1115 w 1970"/>
                <a:gd name="T79" fmla="*/ 1021 h 1389"/>
                <a:gd name="T80" fmla="*/ 1115 w 1970"/>
                <a:gd name="T81" fmla="*/ 788 h 1389"/>
                <a:gd name="T82" fmla="*/ 1115 w 1970"/>
                <a:gd name="T83" fmla="*/ 786 h 1389"/>
                <a:gd name="T84" fmla="*/ 1115 w 1970"/>
                <a:gd name="T85" fmla="*/ 471 h 1389"/>
                <a:gd name="T86" fmla="*/ 1282 w 1970"/>
                <a:gd name="T87" fmla="*/ 616 h 1389"/>
                <a:gd name="T88" fmla="*/ 1287 w 1970"/>
                <a:gd name="T89" fmla="*/ 620 h 1389"/>
                <a:gd name="T90" fmla="*/ 1374 w 1970"/>
                <a:gd name="T91" fmla="*/ 612 h 1389"/>
                <a:gd name="T92" fmla="*/ 1496 w 1970"/>
                <a:gd name="T93" fmla="*/ 341 h 1389"/>
                <a:gd name="T94" fmla="*/ 1855 w 1970"/>
                <a:gd name="T95" fmla="*/ 258 h 1389"/>
                <a:gd name="T96" fmla="*/ 1858 w 1970"/>
                <a:gd name="T97" fmla="*/ 255 h 1389"/>
                <a:gd name="T98" fmla="*/ 1936 w 1970"/>
                <a:gd name="T99" fmla="*/ 80 h 1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70" h="1389">
                  <a:moveTo>
                    <a:pt x="681" y="1231"/>
                  </a:moveTo>
                  <a:cubicBezTo>
                    <a:pt x="681" y="1303"/>
                    <a:pt x="681" y="1303"/>
                    <a:pt x="681" y="1303"/>
                  </a:cubicBezTo>
                  <a:cubicBezTo>
                    <a:pt x="681" y="1311"/>
                    <a:pt x="676" y="1318"/>
                    <a:pt x="670" y="1322"/>
                  </a:cubicBezTo>
                  <a:cubicBezTo>
                    <a:pt x="570" y="1382"/>
                    <a:pt x="448" y="1389"/>
                    <a:pt x="395" y="1389"/>
                  </a:cubicBezTo>
                  <a:cubicBezTo>
                    <a:pt x="381" y="1389"/>
                    <a:pt x="372" y="1389"/>
                    <a:pt x="370" y="1389"/>
                  </a:cubicBezTo>
                  <a:cubicBezTo>
                    <a:pt x="359" y="1388"/>
                    <a:pt x="350" y="1378"/>
                    <a:pt x="350" y="1367"/>
                  </a:cubicBezTo>
                  <a:cubicBezTo>
                    <a:pt x="350" y="1176"/>
                    <a:pt x="350" y="1176"/>
                    <a:pt x="350" y="1176"/>
                  </a:cubicBezTo>
                  <a:cubicBezTo>
                    <a:pt x="325" y="1178"/>
                    <a:pt x="292" y="1180"/>
                    <a:pt x="271" y="1180"/>
                  </a:cubicBezTo>
                  <a:cubicBezTo>
                    <a:pt x="174" y="1181"/>
                    <a:pt x="148" y="1167"/>
                    <a:pt x="136" y="1155"/>
                  </a:cubicBezTo>
                  <a:cubicBezTo>
                    <a:pt x="125" y="1143"/>
                    <a:pt x="111" y="1116"/>
                    <a:pt x="112" y="1014"/>
                  </a:cubicBezTo>
                  <a:cubicBezTo>
                    <a:pt x="112" y="984"/>
                    <a:pt x="113" y="955"/>
                    <a:pt x="114" y="935"/>
                  </a:cubicBezTo>
                  <a:cubicBezTo>
                    <a:pt x="50" y="935"/>
                    <a:pt x="19" y="904"/>
                    <a:pt x="12" y="887"/>
                  </a:cubicBezTo>
                  <a:cubicBezTo>
                    <a:pt x="0" y="859"/>
                    <a:pt x="32" y="817"/>
                    <a:pt x="52" y="797"/>
                  </a:cubicBezTo>
                  <a:cubicBezTo>
                    <a:pt x="73" y="776"/>
                    <a:pt x="90" y="744"/>
                    <a:pt x="100" y="721"/>
                  </a:cubicBezTo>
                  <a:cubicBezTo>
                    <a:pt x="104" y="712"/>
                    <a:pt x="104" y="674"/>
                    <a:pt x="105" y="652"/>
                  </a:cubicBezTo>
                  <a:cubicBezTo>
                    <a:pt x="105" y="635"/>
                    <a:pt x="106" y="620"/>
                    <a:pt x="107" y="607"/>
                  </a:cubicBezTo>
                  <a:cubicBezTo>
                    <a:pt x="109" y="587"/>
                    <a:pt x="115" y="555"/>
                    <a:pt x="120" y="531"/>
                  </a:cubicBezTo>
                  <a:cubicBezTo>
                    <a:pt x="131" y="548"/>
                    <a:pt x="143" y="563"/>
                    <a:pt x="155" y="579"/>
                  </a:cubicBezTo>
                  <a:cubicBezTo>
                    <a:pt x="153" y="591"/>
                    <a:pt x="152" y="602"/>
                    <a:pt x="151" y="611"/>
                  </a:cubicBezTo>
                  <a:cubicBezTo>
                    <a:pt x="150" y="622"/>
                    <a:pt x="149" y="637"/>
                    <a:pt x="149" y="653"/>
                  </a:cubicBezTo>
                  <a:cubicBezTo>
                    <a:pt x="148" y="695"/>
                    <a:pt x="147" y="722"/>
                    <a:pt x="141" y="737"/>
                  </a:cubicBezTo>
                  <a:cubicBezTo>
                    <a:pt x="135" y="751"/>
                    <a:pt x="115" y="796"/>
                    <a:pt x="83" y="828"/>
                  </a:cubicBezTo>
                  <a:cubicBezTo>
                    <a:pt x="66" y="846"/>
                    <a:pt x="56" y="863"/>
                    <a:pt x="54" y="871"/>
                  </a:cubicBezTo>
                  <a:cubicBezTo>
                    <a:pt x="60" y="877"/>
                    <a:pt x="82" y="896"/>
                    <a:pt x="135" y="890"/>
                  </a:cubicBezTo>
                  <a:cubicBezTo>
                    <a:pt x="142" y="889"/>
                    <a:pt x="148" y="891"/>
                    <a:pt x="153" y="896"/>
                  </a:cubicBezTo>
                  <a:cubicBezTo>
                    <a:pt x="157" y="900"/>
                    <a:pt x="160" y="907"/>
                    <a:pt x="159" y="913"/>
                  </a:cubicBezTo>
                  <a:cubicBezTo>
                    <a:pt x="152" y="1013"/>
                    <a:pt x="156" y="1109"/>
                    <a:pt x="168" y="1124"/>
                  </a:cubicBezTo>
                  <a:cubicBezTo>
                    <a:pt x="168" y="1125"/>
                    <a:pt x="183" y="1136"/>
                    <a:pt x="268" y="1136"/>
                  </a:cubicBezTo>
                  <a:cubicBezTo>
                    <a:pt x="315" y="1135"/>
                    <a:pt x="359" y="1132"/>
                    <a:pt x="366" y="1130"/>
                  </a:cubicBezTo>
                  <a:cubicBezTo>
                    <a:pt x="372" y="1129"/>
                    <a:pt x="379" y="1130"/>
                    <a:pt x="384" y="1133"/>
                  </a:cubicBezTo>
                  <a:cubicBezTo>
                    <a:pt x="390" y="1137"/>
                    <a:pt x="394" y="1144"/>
                    <a:pt x="394" y="1152"/>
                  </a:cubicBezTo>
                  <a:cubicBezTo>
                    <a:pt x="394" y="1345"/>
                    <a:pt x="394" y="1345"/>
                    <a:pt x="394" y="1345"/>
                  </a:cubicBezTo>
                  <a:cubicBezTo>
                    <a:pt x="438" y="1345"/>
                    <a:pt x="548" y="1340"/>
                    <a:pt x="637" y="1291"/>
                  </a:cubicBezTo>
                  <a:cubicBezTo>
                    <a:pt x="637" y="1244"/>
                    <a:pt x="637" y="1244"/>
                    <a:pt x="637" y="1244"/>
                  </a:cubicBezTo>
                  <a:cubicBezTo>
                    <a:pt x="650" y="1240"/>
                    <a:pt x="665" y="1236"/>
                    <a:pt x="681" y="1231"/>
                  </a:cubicBezTo>
                  <a:close/>
                  <a:moveTo>
                    <a:pt x="1936" y="80"/>
                  </a:moveTo>
                  <a:cubicBezTo>
                    <a:pt x="1624" y="86"/>
                    <a:pt x="1733" y="0"/>
                    <a:pt x="1396" y="0"/>
                  </a:cubicBezTo>
                  <a:cubicBezTo>
                    <a:pt x="1100" y="0"/>
                    <a:pt x="953" y="177"/>
                    <a:pt x="880" y="329"/>
                  </a:cubicBezTo>
                  <a:cubicBezTo>
                    <a:pt x="729" y="652"/>
                    <a:pt x="1050" y="972"/>
                    <a:pt x="1107" y="1025"/>
                  </a:cubicBezTo>
                  <a:cubicBezTo>
                    <a:pt x="1110" y="1028"/>
                    <a:pt x="1115" y="1025"/>
                    <a:pt x="1115" y="1021"/>
                  </a:cubicBezTo>
                  <a:cubicBezTo>
                    <a:pt x="1115" y="1021"/>
                    <a:pt x="1115" y="1021"/>
                    <a:pt x="1115" y="788"/>
                  </a:cubicBezTo>
                  <a:cubicBezTo>
                    <a:pt x="1115" y="788"/>
                    <a:pt x="1115" y="787"/>
                    <a:pt x="1115" y="786"/>
                  </a:cubicBezTo>
                  <a:cubicBezTo>
                    <a:pt x="1107" y="769"/>
                    <a:pt x="992" y="534"/>
                    <a:pt x="1115" y="471"/>
                  </a:cubicBezTo>
                  <a:cubicBezTo>
                    <a:pt x="1246" y="402"/>
                    <a:pt x="1279" y="587"/>
                    <a:pt x="1282" y="616"/>
                  </a:cubicBezTo>
                  <a:cubicBezTo>
                    <a:pt x="1283" y="618"/>
                    <a:pt x="1285" y="620"/>
                    <a:pt x="1287" y="620"/>
                  </a:cubicBezTo>
                  <a:cubicBezTo>
                    <a:pt x="1304" y="623"/>
                    <a:pt x="1374" y="632"/>
                    <a:pt x="1374" y="612"/>
                  </a:cubicBezTo>
                  <a:cubicBezTo>
                    <a:pt x="1374" y="472"/>
                    <a:pt x="1426" y="391"/>
                    <a:pt x="1496" y="341"/>
                  </a:cubicBezTo>
                  <a:cubicBezTo>
                    <a:pt x="1626" y="246"/>
                    <a:pt x="1820" y="270"/>
                    <a:pt x="1855" y="258"/>
                  </a:cubicBezTo>
                  <a:cubicBezTo>
                    <a:pt x="1856" y="258"/>
                    <a:pt x="1858" y="256"/>
                    <a:pt x="1858" y="255"/>
                  </a:cubicBezTo>
                  <a:cubicBezTo>
                    <a:pt x="1875" y="185"/>
                    <a:pt x="1970" y="80"/>
                    <a:pt x="1936" y="8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1" name="Freeform 18">
              <a:extLst>
                <a:ext uri="{FF2B5EF4-FFF2-40B4-BE49-F238E27FC236}">
                  <a16:creationId xmlns="" xmlns:a16="http://schemas.microsoft.com/office/drawing/2014/main" id="{0A85DD4F-728A-4501-B0E8-D0277D02DC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6195" y="5233018"/>
              <a:ext cx="411583" cy="241945"/>
            </a:xfrm>
            <a:custGeom>
              <a:avLst/>
              <a:gdLst>
                <a:gd name="T0" fmla="*/ 1895 w 1905"/>
                <a:gd name="T1" fmla="*/ 481 h 1119"/>
                <a:gd name="T2" fmla="*/ 1768 w 1905"/>
                <a:gd name="T3" fmla="*/ 544 h 1119"/>
                <a:gd name="T4" fmla="*/ 1776 w 1905"/>
                <a:gd name="T5" fmla="*/ 721 h 1119"/>
                <a:gd name="T6" fmla="*/ 1776 w 1905"/>
                <a:gd name="T7" fmla="*/ 730 h 1119"/>
                <a:gd name="T8" fmla="*/ 1739 w 1905"/>
                <a:gd name="T9" fmla="*/ 860 h 1119"/>
                <a:gd name="T10" fmla="*/ 1484 w 1905"/>
                <a:gd name="T11" fmla="*/ 873 h 1119"/>
                <a:gd name="T12" fmla="*/ 1484 w 1905"/>
                <a:gd name="T13" fmla="*/ 1097 h 1119"/>
                <a:gd name="T14" fmla="*/ 1462 w 1905"/>
                <a:gd name="T15" fmla="*/ 1119 h 1119"/>
                <a:gd name="T16" fmla="*/ 1461 w 1905"/>
                <a:gd name="T17" fmla="*/ 1119 h 1119"/>
                <a:gd name="T18" fmla="*/ 975 w 1905"/>
                <a:gd name="T19" fmla="*/ 1034 h 1119"/>
                <a:gd name="T20" fmla="*/ 961 w 1905"/>
                <a:gd name="T21" fmla="*/ 1013 h 1119"/>
                <a:gd name="T22" fmla="*/ 961 w 1905"/>
                <a:gd name="T23" fmla="*/ 774 h 1119"/>
                <a:gd name="T24" fmla="*/ 965 w 1905"/>
                <a:gd name="T25" fmla="*/ 778 h 1119"/>
                <a:gd name="T26" fmla="*/ 1005 w 1905"/>
                <a:gd name="T27" fmla="*/ 809 h 1119"/>
                <a:gd name="T28" fmla="*/ 1005 w 1905"/>
                <a:gd name="T29" fmla="*/ 999 h 1119"/>
                <a:gd name="T30" fmla="*/ 1440 w 1905"/>
                <a:gd name="T31" fmla="*/ 1075 h 1119"/>
                <a:gd name="T32" fmla="*/ 1440 w 1905"/>
                <a:gd name="T33" fmla="*/ 848 h 1119"/>
                <a:gd name="T34" fmla="*/ 1448 w 1905"/>
                <a:gd name="T35" fmla="*/ 832 h 1119"/>
                <a:gd name="T36" fmla="*/ 1465 w 1905"/>
                <a:gd name="T37" fmla="*/ 826 h 1119"/>
                <a:gd name="T38" fmla="*/ 1718 w 1905"/>
                <a:gd name="T39" fmla="*/ 822 h 1119"/>
                <a:gd name="T40" fmla="*/ 1732 w 1905"/>
                <a:gd name="T41" fmla="*/ 727 h 1119"/>
                <a:gd name="T42" fmla="*/ 1732 w 1905"/>
                <a:gd name="T43" fmla="*/ 718 h 1119"/>
                <a:gd name="T44" fmla="*/ 1722 w 1905"/>
                <a:gd name="T45" fmla="*/ 523 h 1119"/>
                <a:gd name="T46" fmla="*/ 1728 w 1905"/>
                <a:gd name="T47" fmla="*/ 505 h 1119"/>
                <a:gd name="T48" fmla="*/ 1745 w 1905"/>
                <a:gd name="T49" fmla="*/ 499 h 1119"/>
                <a:gd name="T50" fmla="*/ 1853 w 1905"/>
                <a:gd name="T51" fmla="*/ 467 h 1119"/>
                <a:gd name="T52" fmla="*/ 1807 w 1905"/>
                <a:gd name="T53" fmla="*/ 408 h 1119"/>
                <a:gd name="T54" fmla="*/ 1795 w 1905"/>
                <a:gd name="T55" fmla="*/ 395 h 1119"/>
                <a:gd name="T56" fmla="*/ 1733 w 1905"/>
                <a:gd name="T57" fmla="*/ 275 h 1119"/>
                <a:gd name="T58" fmla="*/ 1723 w 1905"/>
                <a:gd name="T59" fmla="*/ 212 h 1119"/>
                <a:gd name="T60" fmla="*/ 1713 w 1905"/>
                <a:gd name="T61" fmla="*/ 141 h 1119"/>
                <a:gd name="T62" fmla="*/ 1698 w 1905"/>
                <a:gd name="T63" fmla="*/ 28 h 1119"/>
                <a:gd name="T64" fmla="*/ 1742 w 1905"/>
                <a:gd name="T65" fmla="*/ 25 h 1119"/>
                <a:gd name="T66" fmla="*/ 1754 w 1905"/>
                <a:gd name="T67" fmla="*/ 127 h 1119"/>
                <a:gd name="T68" fmla="*/ 1767 w 1905"/>
                <a:gd name="T69" fmla="*/ 209 h 1119"/>
                <a:gd name="T70" fmla="*/ 1774 w 1905"/>
                <a:gd name="T71" fmla="*/ 260 h 1119"/>
                <a:gd name="T72" fmla="*/ 1828 w 1905"/>
                <a:gd name="T73" fmla="*/ 366 h 1119"/>
                <a:gd name="T74" fmla="*/ 1839 w 1905"/>
                <a:gd name="T75" fmla="*/ 378 h 1119"/>
                <a:gd name="T76" fmla="*/ 1895 w 1905"/>
                <a:gd name="T77" fmla="*/ 481 h 1119"/>
                <a:gd name="T78" fmla="*/ 765 w 1905"/>
                <a:gd name="T79" fmla="*/ 520 h 1119"/>
                <a:gd name="T80" fmla="*/ 700 w 1905"/>
                <a:gd name="T81" fmla="*/ 112 h 1119"/>
                <a:gd name="T82" fmla="*/ 374 w 1905"/>
                <a:gd name="T83" fmla="*/ 0 h 1119"/>
                <a:gd name="T84" fmla="*/ 12 w 1905"/>
                <a:gd name="T85" fmla="*/ 175 h 1119"/>
                <a:gd name="T86" fmla="*/ 591 w 1905"/>
                <a:gd name="T87" fmla="*/ 635 h 1119"/>
                <a:gd name="T88" fmla="*/ 466 w 1905"/>
                <a:gd name="T89" fmla="*/ 925 h 1119"/>
                <a:gd name="T90" fmla="*/ 849 w 1905"/>
                <a:gd name="T91" fmla="*/ 649 h 1119"/>
                <a:gd name="T92" fmla="*/ 765 w 1905"/>
                <a:gd name="T93" fmla="*/ 520 h 1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905" h="1119">
                  <a:moveTo>
                    <a:pt x="1895" y="481"/>
                  </a:moveTo>
                  <a:cubicBezTo>
                    <a:pt x="1889" y="496"/>
                    <a:pt x="1865" y="544"/>
                    <a:pt x="1768" y="544"/>
                  </a:cubicBezTo>
                  <a:cubicBezTo>
                    <a:pt x="1772" y="586"/>
                    <a:pt x="1780" y="668"/>
                    <a:pt x="1776" y="721"/>
                  </a:cubicBezTo>
                  <a:cubicBezTo>
                    <a:pt x="1776" y="730"/>
                    <a:pt x="1776" y="730"/>
                    <a:pt x="1776" y="730"/>
                  </a:cubicBezTo>
                  <a:cubicBezTo>
                    <a:pt x="1771" y="804"/>
                    <a:pt x="1768" y="845"/>
                    <a:pt x="1739" y="860"/>
                  </a:cubicBezTo>
                  <a:cubicBezTo>
                    <a:pt x="1718" y="872"/>
                    <a:pt x="1626" y="889"/>
                    <a:pt x="1484" y="873"/>
                  </a:cubicBezTo>
                  <a:cubicBezTo>
                    <a:pt x="1484" y="1097"/>
                    <a:pt x="1484" y="1097"/>
                    <a:pt x="1484" y="1097"/>
                  </a:cubicBezTo>
                  <a:cubicBezTo>
                    <a:pt x="1484" y="1109"/>
                    <a:pt x="1474" y="1119"/>
                    <a:pt x="1462" y="1119"/>
                  </a:cubicBezTo>
                  <a:cubicBezTo>
                    <a:pt x="1462" y="1119"/>
                    <a:pt x="1462" y="1119"/>
                    <a:pt x="1461" y="1119"/>
                  </a:cubicBezTo>
                  <a:cubicBezTo>
                    <a:pt x="1440" y="1119"/>
                    <a:pt x="1178" y="1117"/>
                    <a:pt x="975" y="1034"/>
                  </a:cubicBezTo>
                  <a:cubicBezTo>
                    <a:pt x="966" y="1030"/>
                    <a:pt x="961" y="1022"/>
                    <a:pt x="961" y="1013"/>
                  </a:cubicBezTo>
                  <a:cubicBezTo>
                    <a:pt x="961" y="774"/>
                    <a:pt x="961" y="774"/>
                    <a:pt x="961" y="774"/>
                  </a:cubicBezTo>
                  <a:cubicBezTo>
                    <a:pt x="962" y="775"/>
                    <a:pt x="964" y="777"/>
                    <a:pt x="965" y="778"/>
                  </a:cubicBezTo>
                  <a:cubicBezTo>
                    <a:pt x="972" y="784"/>
                    <a:pt x="991" y="801"/>
                    <a:pt x="1005" y="809"/>
                  </a:cubicBezTo>
                  <a:cubicBezTo>
                    <a:pt x="1005" y="999"/>
                    <a:pt x="1005" y="999"/>
                    <a:pt x="1005" y="999"/>
                  </a:cubicBezTo>
                  <a:cubicBezTo>
                    <a:pt x="1169" y="1062"/>
                    <a:pt x="1374" y="1073"/>
                    <a:pt x="1440" y="1075"/>
                  </a:cubicBezTo>
                  <a:cubicBezTo>
                    <a:pt x="1440" y="848"/>
                    <a:pt x="1440" y="848"/>
                    <a:pt x="1440" y="848"/>
                  </a:cubicBezTo>
                  <a:cubicBezTo>
                    <a:pt x="1440" y="842"/>
                    <a:pt x="1443" y="836"/>
                    <a:pt x="1448" y="832"/>
                  </a:cubicBezTo>
                  <a:cubicBezTo>
                    <a:pt x="1452" y="828"/>
                    <a:pt x="1459" y="826"/>
                    <a:pt x="1465" y="826"/>
                  </a:cubicBezTo>
                  <a:cubicBezTo>
                    <a:pt x="1612" y="846"/>
                    <a:pt x="1704" y="829"/>
                    <a:pt x="1718" y="822"/>
                  </a:cubicBezTo>
                  <a:cubicBezTo>
                    <a:pt x="1726" y="814"/>
                    <a:pt x="1729" y="768"/>
                    <a:pt x="1732" y="727"/>
                  </a:cubicBezTo>
                  <a:cubicBezTo>
                    <a:pt x="1732" y="718"/>
                    <a:pt x="1732" y="718"/>
                    <a:pt x="1732" y="718"/>
                  </a:cubicBezTo>
                  <a:cubicBezTo>
                    <a:pt x="1737" y="651"/>
                    <a:pt x="1722" y="524"/>
                    <a:pt x="1722" y="523"/>
                  </a:cubicBezTo>
                  <a:cubicBezTo>
                    <a:pt x="1721" y="517"/>
                    <a:pt x="1723" y="510"/>
                    <a:pt x="1728" y="505"/>
                  </a:cubicBezTo>
                  <a:cubicBezTo>
                    <a:pt x="1732" y="500"/>
                    <a:pt x="1739" y="498"/>
                    <a:pt x="1745" y="499"/>
                  </a:cubicBezTo>
                  <a:cubicBezTo>
                    <a:pt x="1813" y="505"/>
                    <a:pt x="1845" y="486"/>
                    <a:pt x="1853" y="467"/>
                  </a:cubicBezTo>
                  <a:cubicBezTo>
                    <a:pt x="1851" y="455"/>
                    <a:pt x="1821" y="423"/>
                    <a:pt x="1807" y="408"/>
                  </a:cubicBezTo>
                  <a:cubicBezTo>
                    <a:pt x="1803" y="403"/>
                    <a:pt x="1799" y="399"/>
                    <a:pt x="1795" y="395"/>
                  </a:cubicBezTo>
                  <a:cubicBezTo>
                    <a:pt x="1769" y="366"/>
                    <a:pt x="1747" y="313"/>
                    <a:pt x="1733" y="275"/>
                  </a:cubicBezTo>
                  <a:cubicBezTo>
                    <a:pt x="1727" y="259"/>
                    <a:pt x="1725" y="237"/>
                    <a:pt x="1723" y="212"/>
                  </a:cubicBezTo>
                  <a:cubicBezTo>
                    <a:pt x="1721" y="188"/>
                    <a:pt x="1719" y="160"/>
                    <a:pt x="1713" y="141"/>
                  </a:cubicBezTo>
                  <a:cubicBezTo>
                    <a:pt x="1701" y="107"/>
                    <a:pt x="1699" y="53"/>
                    <a:pt x="1698" y="28"/>
                  </a:cubicBezTo>
                  <a:cubicBezTo>
                    <a:pt x="1717" y="27"/>
                    <a:pt x="1731" y="26"/>
                    <a:pt x="1742" y="25"/>
                  </a:cubicBezTo>
                  <a:cubicBezTo>
                    <a:pt x="1743" y="51"/>
                    <a:pt x="1746" y="100"/>
                    <a:pt x="1754" y="127"/>
                  </a:cubicBezTo>
                  <a:cubicBezTo>
                    <a:pt x="1763" y="151"/>
                    <a:pt x="1765" y="182"/>
                    <a:pt x="1767" y="209"/>
                  </a:cubicBezTo>
                  <a:cubicBezTo>
                    <a:pt x="1769" y="229"/>
                    <a:pt x="1771" y="249"/>
                    <a:pt x="1774" y="260"/>
                  </a:cubicBezTo>
                  <a:cubicBezTo>
                    <a:pt x="1792" y="309"/>
                    <a:pt x="1811" y="347"/>
                    <a:pt x="1828" y="366"/>
                  </a:cubicBezTo>
                  <a:cubicBezTo>
                    <a:pt x="1831" y="370"/>
                    <a:pt x="1835" y="374"/>
                    <a:pt x="1839" y="378"/>
                  </a:cubicBezTo>
                  <a:cubicBezTo>
                    <a:pt x="1879" y="421"/>
                    <a:pt x="1905" y="452"/>
                    <a:pt x="1895" y="481"/>
                  </a:cubicBezTo>
                  <a:close/>
                  <a:moveTo>
                    <a:pt x="765" y="520"/>
                  </a:moveTo>
                  <a:cubicBezTo>
                    <a:pt x="688" y="378"/>
                    <a:pt x="666" y="239"/>
                    <a:pt x="700" y="112"/>
                  </a:cubicBezTo>
                  <a:cubicBezTo>
                    <a:pt x="624" y="47"/>
                    <a:pt x="517" y="0"/>
                    <a:pt x="374" y="0"/>
                  </a:cubicBezTo>
                  <a:cubicBezTo>
                    <a:pt x="110" y="0"/>
                    <a:pt x="0" y="121"/>
                    <a:pt x="12" y="175"/>
                  </a:cubicBezTo>
                  <a:cubicBezTo>
                    <a:pt x="175" y="470"/>
                    <a:pt x="591" y="635"/>
                    <a:pt x="591" y="635"/>
                  </a:cubicBezTo>
                  <a:cubicBezTo>
                    <a:pt x="654" y="781"/>
                    <a:pt x="447" y="901"/>
                    <a:pt x="466" y="925"/>
                  </a:cubicBezTo>
                  <a:cubicBezTo>
                    <a:pt x="480" y="941"/>
                    <a:pt x="763" y="874"/>
                    <a:pt x="849" y="649"/>
                  </a:cubicBezTo>
                  <a:cubicBezTo>
                    <a:pt x="820" y="612"/>
                    <a:pt x="791" y="569"/>
                    <a:pt x="765" y="52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74" name="TextBox 73"/>
          <p:cNvSpPr txBox="1"/>
          <p:nvPr/>
        </p:nvSpPr>
        <p:spPr>
          <a:xfrm>
            <a:off x="682900" y="4156833"/>
            <a:ext cx="17733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eneral Policies</a:t>
            </a:r>
            <a:endParaRPr lang="ru-RU" sz="12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53183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>
          <a:xfrm>
            <a:off x="1447042" y="1014484"/>
            <a:ext cx="8735183" cy="4784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ational Contact </a:t>
            </a:r>
            <a:r>
              <a:rPr lang="en-US" sz="2400" b="1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oint (Center) of the Kazakhstan</a:t>
            </a:r>
            <a:endParaRPr lang="ru-RU" sz="2400" dirty="0">
              <a:solidFill>
                <a:schemeClr val="accent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946084" y="3884462"/>
            <a:ext cx="3369165" cy="4784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inistry of National Economy of the Republic of </a:t>
            </a:r>
            <a:r>
              <a:rPr lang="en-US" sz="16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azakhstan (MNE RK)</a:t>
            </a:r>
            <a:endParaRPr lang="en-US" sz="1600" b="1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289330" y="3797636"/>
            <a:ext cx="6902669" cy="7301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>
                <a:solidFill>
                  <a:schemeClr val="tx1"/>
                </a:solidFill>
              </a:rPr>
              <a:t>Responsible </a:t>
            </a:r>
            <a:r>
              <a:rPr lang="en-US" dirty="0" smtClean="0">
                <a:solidFill>
                  <a:schemeClr val="tx1"/>
                </a:solidFill>
              </a:rPr>
              <a:t>authority for </a:t>
            </a:r>
            <a:r>
              <a:rPr lang="en-US" dirty="0">
                <a:solidFill>
                  <a:schemeClr val="tx1"/>
                </a:solidFill>
              </a:rPr>
              <a:t>the functions of the National Contact </a:t>
            </a:r>
            <a:r>
              <a:rPr lang="en-US" dirty="0" smtClean="0">
                <a:solidFill>
                  <a:schemeClr val="tx1"/>
                </a:solidFill>
              </a:rPr>
              <a:t>Point</a:t>
            </a:r>
            <a:endParaRPr lang="ru-RU" dirty="0" smtClean="0">
              <a:solidFill>
                <a:schemeClr val="tx1"/>
              </a:solidFill>
            </a:endParaRPr>
          </a:p>
          <a:p>
            <a:r>
              <a:rPr lang="ru-RU" sz="1600" i="1" dirty="0" smtClean="0">
                <a:solidFill>
                  <a:schemeClr val="tx1"/>
                </a:solidFill>
              </a:rPr>
              <a:t>(</a:t>
            </a:r>
            <a:r>
              <a:rPr lang="en-US" sz="1600" i="1" dirty="0">
                <a:solidFill>
                  <a:schemeClr val="tx1"/>
                </a:solidFill>
              </a:rPr>
              <a:t>Government </a:t>
            </a:r>
            <a:r>
              <a:rPr lang="en-US" sz="1600" i="1" dirty="0" smtClean="0">
                <a:solidFill>
                  <a:schemeClr val="tx1"/>
                </a:solidFill>
              </a:rPr>
              <a:t>decision</a:t>
            </a:r>
            <a:r>
              <a:rPr lang="ru-RU" sz="1600" i="1" dirty="0" smtClean="0">
                <a:solidFill>
                  <a:schemeClr val="tx1"/>
                </a:solidFill>
              </a:rPr>
              <a:t> </a:t>
            </a:r>
            <a:r>
              <a:rPr lang="en-US" sz="1600" i="1" dirty="0" smtClean="0">
                <a:solidFill>
                  <a:schemeClr val="tx1"/>
                </a:solidFill>
              </a:rPr>
              <a:t>of the Republic of Kazakhstan of</a:t>
            </a:r>
            <a:r>
              <a:rPr lang="ru-RU" sz="1600" i="1" dirty="0" smtClean="0">
                <a:solidFill>
                  <a:schemeClr val="tx1"/>
                </a:solidFill>
              </a:rPr>
              <a:t> 09.09.2019</a:t>
            </a:r>
            <a:r>
              <a:rPr lang="en-US" sz="1600" i="1" dirty="0">
                <a:solidFill>
                  <a:schemeClr val="tx1"/>
                </a:solidFill>
              </a:rPr>
              <a:t>,</a:t>
            </a:r>
            <a:r>
              <a:rPr lang="ru-RU" sz="1600" i="1" dirty="0" smtClean="0">
                <a:solidFill>
                  <a:schemeClr val="tx1"/>
                </a:solidFill>
              </a:rPr>
              <a:t> №</a:t>
            </a:r>
            <a:r>
              <a:rPr lang="ru-RU" sz="1600" i="1" dirty="0">
                <a:solidFill>
                  <a:schemeClr val="tx1"/>
                </a:solidFill>
              </a:rPr>
              <a:t>667 )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946084" y="4755915"/>
            <a:ext cx="3369165" cy="4784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Economic Research Institute» JSC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5289331" y="4758193"/>
            <a:ext cx="6191596" cy="5422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dirty="0" smtClean="0">
                <a:solidFill>
                  <a:schemeClr val="tx1"/>
                </a:solidFill>
              </a:rPr>
              <a:t>Secretariat  of the National Contact Point</a:t>
            </a:r>
            <a:endParaRPr lang="ru-RU" sz="1600" i="1" dirty="0">
              <a:solidFill>
                <a:schemeClr val="tx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74321" y="1623963"/>
            <a:ext cx="11596254" cy="197281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en-US" sz="16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llegial </a:t>
            </a:r>
            <a:r>
              <a:rPr lang="en-US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liberative body that makes decisions on pending appeals about violation of the guidelines of the Organization for Economic Co-operation and Development for Multinational </a:t>
            </a:r>
            <a:r>
              <a:rPr lang="en-US" sz="16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terprises, </a:t>
            </a:r>
            <a:r>
              <a:rPr lang="en-US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cluding information disclosure, human rights, labor and industrial relations, anti-bribery, bribery and extortion, environmental protection, consumer interests, science and technology, competition and taxation</a:t>
            </a:r>
            <a:r>
              <a:rPr lang="en-US" sz="16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ru-RU" sz="1600" dirty="0" smtClean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endParaRPr lang="en-US" sz="16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r>
              <a:rPr lang="en-US" sz="1600" b="1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urpose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 </a:t>
            </a:r>
            <a:r>
              <a:rPr lang="en-US" sz="16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mplement of </a:t>
            </a:r>
            <a:r>
              <a:rPr lang="en-US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OECD Guidelines by raising </a:t>
            </a:r>
            <a:r>
              <a:rPr lang="en-US" sz="16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wareness, </a:t>
            </a:r>
            <a:r>
              <a:rPr lang="en-US" sz="1600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sider appeals from individuals and (or) legal entities about the violation of the OECD Guidelines and make decisions on </a:t>
            </a:r>
            <a:r>
              <a:rPr lang="en-US" sz="16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m.</a:t>
            </a:r>
            <a:r>
              <a:rPr lang="kk-KZ" sz="1600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16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just"/>
            <a:endParaRPr lang="ru-RU" sz="16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02998" y="2759166"/>
            <a:ext cx="10792047" cy="103847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946084" y="5555453"/>
            <a:ext cx="4343247" cy="11163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</a:t>
            </a:r>
            <a:r>
              <a:rPr lang="en-US" sz="12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presentatives </a:t>
            </a:r>
            <a:r>
              <a:rPr lang="en-US" sz="12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 the</a:t>
            </a:r>
            <a:r>
              <a:rPr lang="ru-RU" sz="12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NE RK</a:t>
            </a:r>
            <a:r>
              <a:rPr lang="ru-RU" sz="12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US" sz="12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inistry of Justice of the</a:t>
            </a:r>
            <a:r>
              <a:rPr lang="ru-RU" sz="12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K</a:t>
            </a:r>
            <a:r>
              <a:rPr lang="ru-RU" sz="12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US" sz="12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inistry of Labor and Social Protection of Population of the RK</a:t>
            </a:r>
            <a:r>
              <a:rPr lang="ru-RU" sz="12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US" sz="12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inistry of Foreign Affairs of the</a:t>
            </a:r>
            <a:r>
              <a:rPr lang="ru-RU" sz="12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K</a:t>
            </a:r>
            <a:r>
              <a:rPr lang="ru-RU" sz="12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en-US" sz="12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</a:t>
            </a:r>
            <a:r>
              <a:rPr lang="en-US" sz="12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he </a:t>
            </a:r>
            <a:r>
              <a:rPr lang="en-US" sz="12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ational chamber of </a:t>
            </a:r>
            <a:r>
              <a:rPr lang="en-US" sz="12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ntrepreneurs</a:t>
            </a:r>
            <a:r>
              <a:rPr lang="ru-RU" sz="12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«</a:t>
            </a:r>
            <a:r>
              <a:rPr lang="en-US" sz="1200" b="1" dirty="0" err="1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tameken</a:t>
            </a:r>
            <a:r>
              <a:rPr lang="ru-RU" sz="12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, </a:t>
            </a:r>
            <a:r>
              <a:rPr lang="en-US" sz="12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 non-governmental </a:t>
            </a:r>
            <a:r>
              <a:rPr lang="en-US" sz="12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rganizations</a:t>
            </a:r>
            <a:r>
              <a:rPr lang="ru-RU" sz="12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</a:t>
            </a:r>
            <a:r>
              <a:rPr lang="ru-RU" sz="12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12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rade </a:t>
            </a:r>
            <a:r>
              <a:rPr lang="en-US" sz="1200" b="1" dirty="0" smtClean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union</a:t>
            </a:r>
            <a:r>
              <a:rPr lang="en-US" sz="1200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</a:t>
            </a:r>
            <a:endParaRPr lang="ru-RU" sz="1200" dirty="0">
              <a:solidFill>
                <a:schemeClr val="tx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308381" y="5736428"/>
            <a:ext cx="6191596" cy="54228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chemeClr val="tx1"/>
                </a:solidFill>
              </a:rPr>
              <a:t>Working Group for </a:t>
            </a:r>
            <a:r>
              <a:rPr lang="en-US" dirty="0" smtClean="0">
                <a:solidFill>
                  <a:schemeClr val="tx1"/>
                </a:solidFill>
              </a:rPr>
              <a:t>supporting of </a:t>
            </a:r>
            <a:r>
              <a:rPr lang="en-US" dirty="0">
                <a:solidFill>
                  <a:schemeClr val="tx1"/>
                </a:solidFill>
              </a:rPr>
              <a:t>the National </a:t>
            </a:r>
            <a:r>
              <a:rPr lang="en-US" dirty="0" smtClean="0">
                <a:solidFill>
                  <a:schemeClr val="tx1"/>
                </a:solidFill>
              </a:rPr>
              <a:t>Contact Point </a:t>
            </a:r>
            <a:r>
              <a:rPr lang="en-US" dirty="0">
                <a:solidFill>
                  <a:schemeClr val="tx1"/>
                </a:solidFill>
              </a:rPr>
              <a:t>activities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19" name="Picture 15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2900" y="227116"/>
            <a:ext cx="1528285" cy="464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9711" y="227116"/>
            <a:ext cx="442384" cy="464393"/>
          </a:xfrm>
          <a:prstGeom prst="rect">
            <a:avLst/>
          </a:prstGeom>
        </p:spPr>
      </p:pic>
      <p:pic>
        <p:nvPicPr>
          <p:cNvPr id="22" name="Рисунок 2" descr="Описание: cid:image001.png@01D63842.54213DF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8982" y="226969"/>
            <a:ext cx="554052" cy="4646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4" name="Прямая соединительная линия 23"/>
          <p:cNvCxnSpPr/>
          <p:nvPr/>
        </p:nvCxnSpPr>
        <p:spPr>
          <a:xfrm>
            <a:off x="0" y="914400"/>
            <a:ext cx="12192000" cy="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Рисунок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015" y="3898559"/>
            <a:ext cx="442384" cy="464393"/>
          </a:xfrm>
          <a:prstGeom prst="rect">
            <a:avLst/>
          </a:prstGeom>
        </p:spPr>
      </p:pic>
      <p:pic>
        <p:nvPicPr>
          <p:cNvPr id="26" name="Рисунок 2" descr="Описание: cid:image001.png@01D63842.54213DF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015" y="4796994"/>
            <a:ext cx="554052" cy="4646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7" name="Группа 26"/>
          <p:cNvGrpSpPr/>
          <p:nvPr/>
        </p:nvGrpSpPr>
        <p:grpSpPr>
          <a:xfrm>
            <a:off x="464999" y="5627842"/>
            <a:ext cx="435801" cy="302259"/>
            <a:chOff x="951977" y="5172704"/>
            <a:chExt cx="435801" cy="302259"/>
          </a:xfrm>
          <a:solidFill>
            <a:schemeClr val="accent1">
              <a:lumMod val="50000"/>
            </a:schemeClr>
          </a:solidFill>
        </p:grpSpPr>
        <p:sp>
          <p:nvSpPr>
            <p:cNvPr id="28" name="Freeform 17">
              <a:extLst>
                <a:ext uri="{FF2B5EF4-FFF2-40B4-BE49-F238E27FC236}">
                  <a16:creationId xmlns="" xmlns:a16="http://schemas.microsoft.com/office/drawing/2014/main" id="{7922D2F5-67CA-4CC8-A112-56DB64B80FB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51977" y="5172704"/>
              <a:ext cx="425652" cy="300298"/>
            </a:xfrm>
            <a:custGeom>
              <a:avLst/>
              <a:gdLst>
                <a:gd name="T0" fmla="*/ 681 w 1970"/>
                <a:gd name="T1" fmla="*/ 1231 h 1389"/>
                <a:gd name="T2" fmla="*/ 681 w 1970"/>
                <a:gd name="T3" fmla="*/ 1303 h 1389"/>
                <a:gd name="T4" fmla="*/ 670 w 1970"/>
                <a:gd name="T5" fmla="*/ 1322 h 1389"/>
                <a:gd name="T6" fmla="*/ 395 w 1970"/>
                <a:gd name="T7" fmla="*/ 1389 h 1389"/>
                <a:gd name="T8" fmla="*/ 370 w 1970"/>
                <a:gd name="T9" fmla="*/ 1389 h 1389"/>
                <a:gd name="T10" fmla="*/ 350 w 1970"/>
                <a:gd name="T11" fmla="*/ 1367 h 1389"/>
                <a:gd name="T12" fmla="*/ 350 w 1970"/>
                <a:gd name="T13" fmla="*/ 1176 h 1389"/>
                <a:gd name="T14" fmla="*/ 271 w 1970"/>
                <a:gd name="T15" fmla="*/ 1180 h 1389"/>
                <a:gd name="T16" fmla="*/ 136 w 1970"/>
                <a:gd name="T17" fmla="*/ 1155 h 1389"/>
                <a:gd name="T18" fmla="*/ 112 w 1970"/>
                <a:gd name="T19" fmla="*/ 1014 h 1389"/>
                <a:gd name="T20" fmla="*/ 114 w 1970"/>
                <a:gd name="T21" fmla="*/ 935 h 1389"/>
                <a:gd name="T22" fmla="*/ 12 w 1970"/>
                <a:gd name="T23" fmla="*/ 887 h 1389"/>
                <a:gd name="T24" fmla="*/ 52 w 1970"/>
                <a:gd name="T25" fmla="*/ 797 h 1389"/>
                <a:gd name="T26" fmla="*/ 100 w 1970"/>
                <a:gd name="T27" fmla="*/ 721 h 1389"/>
                <a:gd name="T28" fmla="*/ 105 w 1970"/>
                <a:gd name="T29" fmla="*/ 652 h 1389"/>
                <a:gd name="T30" fmla="*/ 107 w 1970"/>
                <a:gd name="T31" fmla="*/ 607 h 1389"/>
                <a:gd name="T32" fmla="*/ 120 w 1970"/>
                <a:gd name="T33" fmla="*/ 531 h 1389"/>
                <a:gd name="T34" fmla="*/ 155 w 1970"/>
                <a:gd name="T35" fmla="*/ 579 h 1389"/>
                <a:gd name="T36" fmla="*/ 151 w 1970"/>
                <a:gd name="T37" fmla="*/ 611 h 1389"/>
                <a:gd name="T38" fmla="*/ 149 w 1970"/>
                <a:gd name="T39" fmla="*/ 653 h 1389"/>
                <a:gd name="T40" fmla="*/ 141 w 1970"/>
                <a:gd name="T41" fmla="*/ 737 h 1389"/>
                <a:gd name="T42" fmla="*/ 83 w 1970"/>
                <a:gd name="T43" fmla="*/ 828 h 1389"/>
                <a:gd name="T44" fmla="*/ 54 w 1970"/>
                <a:gd name="T45" fmla="*/ 871 h 1389"/>
                <a:gd name="T46" fmla="*/ 135 w 1970"/>
                <a:gd name="T47" fmla="*/ 890 h 1389"/>
                <a:gd name="T48" fmla="*/ 153 w 1970"/>
                <a:gd name="T49" fmla="*/ 896 h 1389"/>
                <a:gd name="T50" fmla="*/ 159 w 1970"/>
                <a:gd name="T51" fmla="*/ 913 h 1389"/>
                <a:gd name="T52" fmla="*/ 168 w 1970"/>
                <a:gd name="T53" fmla="*/ 1124 h 1389"/>
                <a:gd name="T54" fmla="*/ 268 w 1970"/>
                <a:gd name="T55" fmla="*/ 1136 h 1389"/>
                <a:gd name="T56" fmla="*/ 366 w 1970"/>
                <a:gd name="T57" fmla="*/ 1130 h 1389"/>
                <a:gd name="T58" fmla="*/ 384 w 1970"/>
                <a:gd name="T59" fmla="*/ 1133 h 1389"/>
                <a:gd name="T60" fmla="*/ 394 w 1970"/>
                <a:gd name="T61" fmla="*/ 1152 h 1389"/>
                <a:gd name="T62" fmla="*/ 394 w 1970"/>
                <a:gd name="T63" fmla="*/ 1345 h 1389"/>
                <a:gd name="T64" fmla="*/ 637 w 1970"/>
                <a:gd name="T65" fmla="*/ 1291 h 1389"/>
                <a:gd name="T66" fmla="*/ 637 w 1970"/>
                <a:gd name="T67" fmla="*/ 1244 h 1389"/>
                <a:gd name="T68" fmla="*/ 681 w 1970"/>
                <a:gd name="T69" fmla="*/ 1231 h 1389"/>
                <a:gd name="T70" fmla="*/ 1936 w 1970"/>
                <a:gd name="T71" fmla="*/ 80 h 1389"/>
                <a:gd name="T72" fmla="*/ 1396 w 1970"/>
                <a:gd name="T73" fmla="*/ 0 h 1389"/>
                <a:gd name="T74" fmla="*/ 880 w 1970"/>
                <a:gd name="T75" fmla="*/ 329 h 1389"/>
                <a:gd name="T76" fmla="*/ 1107 w 1970"/>
                <a:gd name="T77" fmla="*/ 1025 h 1389"/>
                <a:gd name="T78" fmla="*/ 1115 w 1970"/>
                <a:gd name="T79" fmla="*/ 1021 h 1389"/>
                <a:gd name="T80" fmla="*/ 1115 w 1970"/>
                <a:gd name="T81" fmla="*/ 788 h 1389"/>
                <a:gd name="T82" fmla="*/ 1115 w 1970"/>
                <a:gd name="T83" fmla="*/ 786 h 1389"/>
                <a:gd name="T84" fmla="*/ 1115 w 1970"/>
                <a:gd name="T85" fmla="*/ 471 h 1389"/>
                <a:gd name="T86" fmla="*/ 1282 w 1970"/>
                <a:gd name="T87" fmla="*/ 616 h 1389"/>
                <a:gd name="T88" fmla="*/ 1287 w 1970"/>
                <a:gd name="T89" fmla="*/ 620 h 1389"/>
                <a:gd name="T90" fmla="*/ 1374 w 1970"/>
                <a:gd name="T91" fmla="*/ 612 h 1389"/>
                <a:gd name="T92" fmla="*/ 1496 w 1970"/>
                <a:gd name="T93" fmla="*/ 341 h 1389"/>
                <a:gd name="T94" fmla="*/ 1855 w 1970"/>
                <a:gd name="T95" fmla="*/ 258 h 1389"/>
                <a:gd name="T96" fmla="*/ 1858 w 1970"/>
                <a:gd name="T97" fmla="*/ 255 h 1389"/>
                <a:gd name="T98" fmla="*/ 1936 w 1970"/>
                <a:gd name="T99" fmla="*/ 80 h 1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970" h="1389">
                  <a:moveTo>
                    <a:pt x="681" y="1231"/>
                  </a:moveTo>
                  <a:cubicBezTo>
                    <a:pt x="681" y="1303"/>
                    <a:pt x="681" y="1303"/>
                    <a:pt x="681" y="1303"/>
                  </a:cubicBezTo>
                  <a:cubicBezTo>
                    <a:pt x="681" y="1311"/>
                    <a:pt x="676" y="1318"/>
                    <a:pt x="670" y="1322"/>
                  </a:cubicBezTo>
                  <a:cubicBezTo>
                    <a:pt x="570" y="1382"/>
                    <a:pt x="448" y="1389"/>
                    <a:pt x="395" y="1389"/>
                  </a:cubicBezTo>
                  <a:cubicBezTo>
                    <a:pt x="381" y="1389"/>
                    <a:pt x="372" y="1389"/>
                    <a:pt x="370" y="1389"/>
                  </a:cubicBezTo>
                  <a:cubicBezTo>
                    <a:pt x="359" y="1388"/>
                    <a:pt x="350" y="1378"/>
                    <a:pt x="350" y="1367"/>
                  </a:cubicBezTo>
                  <a:cubicBezTo>
                    <a:pt x="350" y="1176"/>
                    <a:pt x="350" y="1176"/>
                    <a:pt x="350" y="1176"/>
                  </a:cubicBezTo>
                  <a:cubicBezTo>
                    <a:pt x="325" y="1178"/>
                    <a:pt x="292" y="1180"/>
                    <a:pt x="271" y="1180"/>
                  </a:cubicBezTo>
                  <a:cubicBezTo>
                    <a:pt x="174" y="1181"/>
                    <a:pt x="148" y="1167"/>
                    <a:pt x="136" y="1155"/>
                  </a:cubicBezTo>
                  <a:cubicBezTo>
                    <a:pt x="125" y="1143"/>
                    <a:pt x="111" y="1116"/>
                    <a:pt x="112" y="1014"/>
                  </a:cubicBezTo>
                  <a:cubicBezTo>
                    <a:pt x="112" y="984"/>
                    <a:pt x="113" y="955"/>
                    <a:pt x="114" y="935"/>
                  </a:cubicBezTo>
                  <a:cubicBezTo>
                    <a:pt x="50" y="935"/>
                    <a:pt x="19" y="904"/>
                    <a:pt x="12" y="887"/>
                  </a:cubicBezTo>
                  <a:cubicBezTo>
                    <a:pt x="0" y="859"/>
                    <a:pt x="32" y="817"/>
                    <a:pt x="52" y="797"/>
                  </a:cubicBezTo>
                  <a:cubicBezTo>
                    <a:pt x="73" y="776"/>
                    <a:pt x="90" y="744"/>
                    <a:pt x="100" y="721"/>
                  </a:cubicBezTo>
                  <a:cubicBezTo>
                    <a:pt x="104" y="712"/>
                    <a:pt x="104" y="674"/>
                    <a:pt x="105" y="652"/>
                  </a:cubicBezTo>
                  <a:cubicBezTo>
                    <a:pt x="105" y="635"/>
                    <a:pt x="106" y="620"/>
                    <a:pt x="107" y="607"/>
                  </a:cubicBezTo>
                  <a:cubicBezTo>
                    <a:pt x="109" y="587"/>
                    <a:pt x="115" y="555"/>
                    <a:pt x="120" y="531"/>
                  </a:cubicBezTo>
                  <a:cubicBezTo>
                    <a:pt x="131" y="548"/>
                    <a:pt x="143" y="563"/>
                    <a:pt x="155" y="579"/>
                  </a:cubicBezTo>
                  <a:cubicBezTo>
                    <a:pt x="153" y="591"/>
                    <a:pt x="152" y="602"/>
                    <a:pt x="151" y="611"/>
                  </a:cubicBezTo>
                  <a:cubicBezTo>
                    <a:pt x="150" y="622"/>
                    <a:pt x="149" y="637"/>
                    <a:pt x="149" y="653"/>
                  </a:cubicBezTo>
                  <a:cubicBezTo>
                    <a:pt x="148" y="695"/>
                    <a:pt x="147" y="722"/>
                    <a:pt x="141" y="737"/>
                  </a:cubicBezTo>
                  <a:cubicBezTo>
                    <a:pt x="135" y="751"/>
                    <a:pt x="115" y="796"/>
                    <a:pt x="83" y="828"/>
                  </a:cubicBezTo>
                  <a:cubicBezTo>
                    <a:pt x="66" y="846"/>
                    <a:pt x="56" y="863"/>
                    <a:pt x="54" y="871"/>
                  </a:cubicBezTo>
                  <a:cubicBezTo>
                    <a:pt x="60" y="877"/>
                    <a:pt x="82" y="896"/>
                    <a:pt x="135" y="890"/>
                  </a:cubicBezTo>
                  <a:cubicBezTo>
                    <a:pt x="142" y="889"/>
                    <a:pt x="148" y="891"/>
                    <a:pt x="153" y="896"/>
                  </a:cubicBezTo>
                  <a:cubicBezTo>
                    <a:pt x="157" y="900"/>
                    <a:pt x="160" y="907"/>
                    <a:pt x="159" y="913"/>
                  </a:cubicBezTo>
                  <a:cubicBezTo>
                    <a:pt x="152" y="1013"/>
                    <a:pt x="156" y="1109"/>
                    <a:pt x="168" y="1124"/>
                  </a:cubicBezTo>
                  <a:cubicBezTo>
                    <a:pt x="168" y="1125"/>
                    <a:pt x="183" y="1136"/>
                    <a:pt x="268" y="1136"/>
                  </a:cubicBezTo>
                  <a:cubicBezTo>
                    <a:pt x="315" y="1135"/>
                    <a:pt x="359" y="1132"/>
                    <a:pt x="366" y="1130"/>
                  </a:cubicBezTo>
                  <a:cubicBezTo>
                    <a:pt x="372" y="1129"/>
                    <a:pt x="379" y="1130"/>
                    <a:pt x="384" y="1133"/>
                  </a:cubicBezTo>
                  <a:cubicBezTo>
                    <a:pt x="390" y="1137"/>
                    <a:pt x="394" y="1144"/>
                    <a:pt x="394" y="1152"/>
                  </a:cubicBezTo>
                  <a:cubicBezTo>
                    <a:pt x="394" y="1345"/>
                    <a:pt x="394" y="1345"/>
                    <a:pt x="394" y="1345"/>
                  </a:cubicBezTo>
                  <a:cubicBezTo>
                    <a:pt x="438" y="1345"/>
                    <a:pt x="548" y="1340"/>
                    <a:pt x="637" y="1291"/>
                  </a:cubicBezTo>
                  <a:cubicBezTo>
                    <a:pt x="637" y="1244"/>
                    <a:pt x="637" y="1244"/>
                    <a:pt x="637" y="1244"/>
                  </a:cubicBezTo>
                  <a:cubicBezTo>
                    <a:pt x="650" y="1240"/>
                    <a:pt x="665" y="1236"/>
                    <a:pt x="681" y="1231"/>
                  </a:cubicBezTo>
                  <a:close/>
                  <a:moveTo>
                    <a:pt x="1936" y="80"/>
                  </a:moveTo>
                  <a:cubicBezTo>
                    <a:pt x="1624" y="86"/>
                    <a:pt x="1733" y="0"/>
                    <a:pt x="1396" y="0"/>
                  </a:cubicBezTo>
                  <a:cubicBezTo>
                    <a:pt x="1100" y="0"/>
                    <a:pt x="953" y="177"/>
                    <a:pt x="880" y="329"/>
                  </a:cubicBezTo>
                  <a:cubicBezTo>
                    <a:pt x="729" y="652"/>
                    <a:pt x="1050" y="972"/>
                    <a:pt x="1107" y="1025"/>
                  </a:cubicBezTo>
                  <a:cubicBezTo>
                    <a:pt x="1110" y="1028"/>
                    <a:pt x="1115" y="1025"/>
                    <a:pt x="1115" y="1021"/>
                  </a:cubicBezTo>
                  <a:cubicBezTo>
                    <a:pt x="1115" y="1021"/>
                    <a:pt x="1115" y="1021"/>
                    <a:pt x="1115" y="788"/>
                  </a:cubicBezTo>
                  <a:cubicBezTo>
                    <a:pt x="1115" y="788"/>
                    <a:pt x="1115" y="787"/>
                    <a:pt x="1115" y="786"/>
                  </a:cubicBezTo>
                  <a:cubicBezTo>
                    <a:pt x="1107" y="769"/>
                    <a:pt x="992" y="534"/>
                    <a:pt x="1115" y="471"/>
                  </a:cubicBezTo>
                  <a:cubicBezTo>
                    <a:pt x="1246" y="402"/>
                    <a:pt x="1279" y="587"/>
                    <a:pt x="1282" y="616"/>
                  </a:cubicBezTo>
                  <a:cubicBezTo>
                    <a:pt x="1283" y="618"/>
                    <a:pt x="1285" y="620"/>
                    <a:pt x="1287" y="620"/>
                  </a:cubicBezTo>
                  <a:cubicBezTo>
                    <a:pt x="1304" y="623"/>
                    <a:pt x="1374" y="632"/>
                    <a:pt x="1374" y="612"/>
                  </a:cubicBezTo>
                  <a:cubicBezTo>
                    <a:pt x="1374" y="472"/>
                    <a:pt x="1426" y="391"/>
                    <a:pt x="1496" y="341"/>
                  </a:cubicBezTo>
                  <a:cubicBezTo>
                    <a:pt x="1626" y="246"/>
                    <a:pt x="1820" y="270"/>
                    <a:pt x="1855" y="258"/>
                  </a:cubicBezTo>
                  <a:cubicBezTo>
                    <a:pt x="1856" y="258"/>
                    <a:pt x="1858" y="256"/>
                    <a:pt x="1858" y="255"/>
                  </a:cubicBezTo>
                  <a:cubicBezTo>
                    <a:pt x="1875" y="185"/>
                    <a:pt x="1970" y="80"/>
                    <a:pt x="1936" y="8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18">
              <a:extLst>
                <a:ext uri="{FF2B5EF4-FFF2-40B4-BE49-F238E27FC236}">
                  <a16:creationId xmlns="" xmlns:a16="http://schemas.microsoft.com/office/drawing/2014/main" id="{0A85DD4F-728A-4501-B0E8-D0277D02DCA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76195" y="5233018"/>
              <a:ext cx="411583" cy="241945"/>
            </a:xfrm>
            <a:custGeom>
              <a:avLst/>
              <a:gdLst>
                <a:gd name="T0" fmla="*/ 1895 w 1905"/>
                <a:gd name="T1" fmla="*/ 481 h 1119"/>
                <a:gd name="T2" fmla="*/ 1768 w 1905"/>
                <a:gd name="T3" fmla="*/ 544 h 1119"/>
                <a:gd name="T4" fmla="*/ 1776 w 1905"/>
                <a:gd name="T5" fmla="*/ 721 h 1119"/>
                <a:gd name="T6" fmla="*/ 1776 w 1905"/>
                <a:gd name="T7" fmla="*/ 730 h 1119"/>
                <a:gd name="T8" fmla="*/ 1739 w 1905"/>
                <a:gd name="T9" fmla="*/ 860 h 1119"/>
                <a:gd name="T10" fmla="*/ 1484 w 1905"/>
                <a:gd name="T11" fmla="*/ 873 h 1119"/>
                <a:gd name="T12" fmla="*/ 1484 w 1905"/>
                <a:gd name="T13" fmla="*/ 1097 h 1119"/>
                <a:gd name="T14" fmla="*/ 1462 w 1905"/>
                <a:gd name="T15" fmla="*/ 1119 h 1119"/>
                <a:gd name="T16" fmla="*/ 1461 w 1905"/>
                <a:gd name="T17" fmla="*/ 1119 h 1119"/>
                <a:gd name="T18" fmla="*/ 975 w 1905"/>
                <a:gd name="T19" fmla="*/ 1034 h 1119"/>
                <a:gd name="T20" fmla="*/ 961 w 1905"/>
                <a:gd name="T21" fmla="*/ 1013 h 1119"/>
                <a:gd name="T22" fmla="*/ 961 w 1905"/>
                <a:gd name="T23" fmla="*/ 774 h 1119"/>
                <a:gd name="T24" fmla="*/ 965 w 1905"/>
                <a:gd name="T25" fmla="*/ 778 h 1119"/>
                <a:gd name="T26" fmla="*/ 1005 w 1905"/>
                <a:gd name="T27" fmla="*/ 809 h 1119"/>
                <a:gd name="T28" fmla="*/ 1005 w 1905"/>
                <a:gd name="T29" fmla="*/ 999 h 1119"/>
                <a:gd name="T30" fmla="*/ 1440 w 1905"/>
                <a:gd name="T31" fmla="*/ 1075 h 1119"/>
                <a:gd name="T32" fmla="*/ 1440 w 1905"/>
                <a:gd name="T33" fmla="*/ 848 h 1119"/>
                <a:gd name="T34" fmla="*/ 1448 w 1905"/>
                <a:gd name="T35" fmla="*/ 832 h 1119"/>
                <a:gd name="T36" fmla="*/ 1465 w 1905"/>
                <a:gd name="T37" fmla="*/ 826 h 1119"/>
                <a:gd name="T38" fmla="*/ 1718 w 1905"/>
                <a:gd name="T39" fmla="*/ 822 h 1119"/>
                <a:gd name="T40" fmla="*/ 1732 w 1905"/>
                <a:gd name="T41" fmla="*/ 727 h 1119"/>
                <a:gd name="T42" fmla="*/ 1732 w 1905"/>
                <a:gd name="T43" fmla="*/ 718 h 1119"/>
                <a:gd name="T44" fmla="*/ 1722 w 1905"/>
                <a:gd name="T45" fmla="*/ 523 h 1119"/>
                <a:gd name="T46" fmla="*/ 1728 w 1905"/>
                <a:gd name="T47" fmla="*/ 505 h 1119"/>
                <a:gd name="T48" fmla="*/ 1745 w 1905"/>
                <a:gd name="T49" fmla="*/ 499 h 1119"/>
                <a:gd name="T50" fmla="*/ 1853 w 1905"/>
                <a:gd name="T51" fmla="*/ 467 h 1119"/>
                <a:gd name="T52" fmla="*/ 1807 w 1905"/>
                <a:gd name="T53" fmla="*/ 408 h 1119"/>
                <a:gd name="T54" fmla="*/ 1795 w 1905"/>
                <a:gd name="T55" fmla="*/ 395 h 1119"/>
                <a:gd name="T56" fmla="*/ 1733 w 1905"/>
                <a:gd name="T57" fmla="*/ 275 h 1119"/>
                <a:gd name="T58" fmla="*/ 1723 w 1905"/>
                <a:gd name="T59" fmla="*/ 212 h 1119"/>
                <a:gd name="T60" fmla="*/ 1713 w 1905"/>
                <a:gd name="T61" fmla="*/ 141 h 1119"/>
                <a:gd name="T62" fmla="*/ 1698 w 1905"/>
                <a:gd name="T63" fmla="*/ 28 h 1119"/>
                <a:gd name="T64" fmla="*/ 1742 w 1905"/>
                <a:gd name="T65" fmla="*/ 25 h 1119"/>
                <a:gd name="T66" fmla="*/ 1754 w 1905"/>
                <a:gd name="T67" fmla="*/ 127 h 1119"/>
                <a:gd name="T68" fmla="*/ 1767 w 1905"/>
                <a:gd name="T69" fmla="*/ 209 h 1119"/>
                <a:gd name="T70" fmla="*/ 1774 w 1905"/>
                <a:gd name="T71" fmla="*/ 260 h 1119"/>
                <a:gd name="T72" fmla="*/ 1828 w 1905"/>
                <a:gd name="T73" fmla="*/ 366 h 1119"/>
                <a:gd name="T74" fmla="*/ 1839 w 1905"/>
                <a:gd name="T75" fmla="*/ 378 h 1119"/>
                <a:gd name="T76" fmla="*/ 1895 w 1905"/>
                <a:gd name="T77" fmla="*/ 481 h 1119"/>
                <a:gd name="T78" fmla="*/ 765 w 1905"/>
                <a:gd name="T79" fmla="*/ 520 h 1119"/>
                <a:gd name="T80" fmla="*/ 700 w 1905"/>
                <a:gd name="T81" fmla="*/ 112 h 1119"/>
                <a:gd name="T82" fmla="*/ 374 w 1905"/>
                <a:gd name="T83" fmla="*/ 0 h 1119"/>
                <a:gd name="T84" fmla="*/ 12 w 1905"/>
                <a:gd name="T85" fmla="*/ 175 h 1119"/>
                <a:gd name="T86" fmla="*/ 591 w 1905"/>
                <a:gd name="T87" fmla="*/ 635 h 1119"/>
                <a:gd name="T88" fmla="*/ 466 w 1905"/>
                <a:gd name="T89" fmla="*/ 925 h 1119"/>
                <a:gd name="T90" fmla="*/ 849 w 1905"/>
                <a:gd name="T91" fmla="*/ 649 h 1119"/>
                <a:gd name="T92" fmla="*/ 765 w 1905"/>
                <a:gd name="T93" fmla="*/ 520 h 1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905" h="1119">
                  <a:moveTo>
                    <a:pt x="1895" y="481"/>
                  </a:moveTo>
                  <a:cubicBezTo>
                    <a:pt x="1889" y="496"/>
                    <a:pt x="1865" y="544"/>
                    <a:pt x="1768" y="544"/>
                  </a:cubicBezTo>
                  <a:cubicBezTo>
                    <a:pt x="1772" y="586"/>
                    <a:pt x="1780" y="668"/>
                    <a:pt x="1776" y="721"/>
                  </a:cubicBezTo>
                  <a:cubicBezTo>
                    <a:pt x="1776" y="730"/>
                    <a:pt x="1776" y="730"/>
                    <a:pt x="1776" y="730"/>
                  </a:cubicBezTo>
                  <a:cubicBezTo>
                    <a:pt x="1771" y="804"/>
                    <a:pt x="1768" y="845"/>
                    <a:pt x="1739" y="860"/>
                  </a:cubicBezTo>
                  <a:cubicBezTo>
                    <a:pt x="1718" y="872"/>
                    <a:pt x="1626" y="889"/>
                    <a:pt x="1484" y="873"/>
                  </a:cubicBezTo>
                  <a:cubicBezTo>
                    <a:pt x="1484" y="1097"/>
                    <a:pt x="1484" y="1097"/>
                    <a:pt x="1484" y="1097"/>
                  </a:cubicBezTo>
                  <a:cubicBezTo>
                    <a:pt x="1484" y="1109"/>
                    <a:pt x="1474" y="1119"/>
                    <a:pt x="1462" y="1119"/>
                  </a:cubicBezTo>
                  <a:cubicBezTo>
                    <a:pt x="1462" y="1119"/>
                    <a:pt x="1462" y="1119"/>
                    <a:pt x="1461" y="1119"/>
                  </a:cubicBezTo>
                  <a:cubicBezTo>
                    <a:pt x="1440" y="1119"/>
                    <a:pt x="1178" y="1117"/>
                    <a:pt x="975" y="1034"/>
                  </a:cubicBezTo>
                  <a:cubicBezTo>
                    <a:pt x="966" y="1030"/>
                    <a:pt x="961" y="1022"/>
                    <a:pt x="961" y="1013"/>
                  </a:cubicBezTo>
                  <a:cubicBezTo>
                    <a:pt x="961" y="774"/>
                    <a:pt x="961" y="774"/>
                    <a:pt x="961" y="774"/>
                  </a:cubicBezTo>
                  <a:cubicBezTo>
                    <a:pt x="962" y="775"/>
                    <a:pt x="964" y="777"/>
                    <a:pt x="965" y="778"/>
                  </a:cubicBezTo>
                  <a:cubicBezTo>
                    <a:pt x="972" y="784"/>
                    <a:pt x="991" y="801"/>
                    <a:pt x="1005" y="809"/>
                  </a:cubicBezTo>
                  <a:cubicBezTo>
                    <a:pt x="1005" y="999"/>
                    <a:pt x="1005" y="999"/>
                    <a:pt x="1005" y="999"/>
                  </a:cubicBezTo>
                  <a:cubicBezTo>
                    <a:pt x="1169" y="1062"/>
                    <a:pt x="1374" y="1073"/>
                    <a:pt x="1440" y="1075"/>
                  </a:cubicBezTo>
                  <a:cubicBezTo>
                    <a:pt x="1440" y="848"/>
                    <a:pt x="1440" y="848"/>
                    <a:pt x="1440" y="848"/>
                  </a:cubicBezTo>
                  <a:cubicBezTo>
                    <a:pt x="1440" y="842"/>
                    <a:pt x="1443" y="836"/>
                    <a:pt x="1448" y="832"/>
                  </a:cubicBezTo>
                  <a:cubicBezTo>
                    <a:pt x="1452" y="828"/>
                    <a:pt x="1459" y="826"/>
                    <a:pt x="1465" y="826"/>
                  </a:cubicBezTo>
                  <a:cubicBezTo>
                    <a:pt x="1612" y="846"/>
                    <a:pt x="1704" y="829"/>
                    <a:pt x="1718" y="822"/>
                  </a:cubicBezTo>
                  <a:cubicBezTo>
                    <a:pt x="1726" y="814"/>
                    <a:pt x="1729" y="768"/>
                    <a:pt x="1732" y="727"/>
                  </a:cubicBezTo>
                  <a:cubicBezTo>
                    <a:pt x="1732" y="718"/>
                    <a:pt x="1732" y="718"/>
                    <a:pt x="1732" y="718"/>
                  </a:cubicBezTo>
                  <a:cubicBezTo>
                    <a:pt x="1737" y="651"/>
                    <a:pt x="1722" y="524"/>
                    <a:pt x="1722" y="523"/>
                  </a:cubicBezTo>
                  <a:cubicBezTo>
                    <a:pt x="1721" y="517"/>
                    <a:pt x="1723" y="510"/>
                    <a:pt x="1728" y="505"/>
                  </a:cubicBezTo>
                  <a:cubicBezTo>
                    <a:pt x="1732" y="500"/>
                    <a:pt x="1739" y="498"/>
                    <a:pt x="1745" y="499"/>
                  </a:cubicBezTo>
                  <a:cubicBezTo>
                    <a:pt x="1813" y="505"/>
                    <a:pt x="1845" y="486"/>
                    <a:pt x="1853" y="467"/>
                  </a:cubicBezTo>
                  <a:cubicBezTo>
                    <a:pt x="1851" y="455"/>
                    <a:pt x="1821" y="423"/>
                    <a:pt x="1807" y="408"/>
                  </a:cubicBezTo>
                  <a:cubicBezTo>
                    <a:pt x="1803" y="403"/>
                    <a:pt x="1799" y="399"/>
                    <a:pt x="1795" y="395"/>
                  </a:cubicBezTo>
                  <a:cubicBezTo>
                    <a:pt x="1769" y="366"/>
                    <a:pt x="1747" y="313"/>
                    <a:pt x="1733" y="275"/>
                  </a:cubicBezTo>
                  <a:cubicBezTo>
                    <a:pt x="1727" y="259"/>
                    <a:pt x="1725" y="237"/>
                    <a:pt x="1723" y="212"/>
                  </a:cubicBezTo>
                  <a:cubicBezTo>
                    <a:pt x="1721" y="188"/>
                    <a:pt x="1719" y="160"/>
                    <a:pt x="1713" y="141"/>
                  </a:cubicBezTo>
                  <a:cubicBezTo>
                    <a:pt x="1701" y="107"/>
                    <a:pt x="1699" y="53"/>
                    <a:pt x="1698" y="28"/>
                  </a:cubicBezTo>
                  <a:cubicBezTo>
                    <a:pt x="1717" y="27"/>
                    <a:pt x="1731" y="26"/>
                    <a:pt x="1742" y="25"/>
                  </a:cubicBezTo>
                  <a:cubicBezTo>
                    <a:pt x="1743" y="51"/>
                    <a:pt x="1746" y="100"/>
                    <a:pt x="1754" y="127"/>
                  </a:cubicBezTo>
                  <a:cubicBezTo>
                    <a:pt x="1763" y="151"/>
                    <a:pt x="1765" y="182"/>
                    <a:pt x="1767" y="209"/>
                  </a:cubicBezTo>
                  <a:cubicBezTo>
                    <a:pt x="1769" y="229"/>
                    <a:pt x="1771" y="249"/>
                    <a:pt x="1774" y="260"/>
                  </a:cubicBezTo>
                  <a:cubicBezTo>
                    <a:pt x="1792" y="309"/>
                    <a:pt x="1811" y="347"/>
                    <a:pt x="1828" y="366"/>
                  </a:cubicBezTo>
                  <a:cubicBezTo>
                    <a:pt x="1831" y="370"/>
                    <a:pt x="1835" y="374"/>
                    <a:pt x="1839" y="378"/>
                  </a:cubicBezTo>
                  <a:cubicBezTo>
                    <a:pt x="1879" y="421"/>
                    <a:pt x="1905" y="452"/>
                    <a:pt x="1895" y="481"/>
                  </a:cubicBezTo>
                  <a:close/>
                  <a:moveTo>
                    <a:pt x="765" y="520"/>
                  </a:moveTo>
                  <a:cubicBezTo>
                    <a:pt x="688" y="378"/>
                    <a:pt x="666" y="239"/>
                    <a:pt x="700" y="112"/>
                  </a:cubicBezTo>
                  <a:cubicBezTo>
                    <a:pt x="624" y="47"/>
                    <a:pt x="517" y="0"/>
                    <a:pt x="374" y="0"/>
                  </a:cubicBezTo>
                  <a:cubicBezTo>
                    <a:pt x="110" y="0"/>
                    <a:pt x="0" y="121"/>
                    <a:pt x="12" y="175"/>
                  </a:cubicBezTo>
                  <a:cubicBezTo>
                    <a:pt x="175" y="470"/>
                    <a:pt x="591" y="635"/>
                    <a:pt x="591" y="635"/>
                  </a:cubicBezTo>
                  <a:cubicBezTo>
                    <a:pt x="654" y="781"/>
                    <a:pt x="447" y="901"/>
                    <a:pt x="466" y="925"/>
                  </a:cubicBezTo>
                  <a:cubicBezTo>
                    <a:pt x="480" y="941"/>
                    <a:pt x="763" y="874"/>
                    <a:pt x="849" y="649"/>
                  </a:cubicBezTo>
                  <a:cubicBezTo>
                    <a:pt x="820" y="612"/>
                    <a:pt x="791" y="569"/>
                    <a:pt x="765" y="520"/>
                  </a:cubicBezTo>
                  <a:close/>
                </a:path>
              </a:pathLst>
            </a:custGeom>
            <a:grpFill/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cxnSp>
        <p:nvCxnSpPr>
          <p:cNvPr id="30" name="Прямая соединительная линия 29"/>
          <p:cNvCxnSpPr/>
          <p:nvPr/>
        </p:nvCxnSpPr>
        <p:spPr>
          <a:xfrm>
            <a:off x="413015" y="4610890"/>
            <a:ext cx="1145756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>
            <a:off x="413015" y="5442162"/>
            <a:ext cx="1145756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единительная линия 31"/>
          <p:cNvCxnSpPr/>
          <p:nvPr/>
        </p:nvCxnSpPr>
        <p:spPr>
          <a:xfrm>
            <a:off x="413015" y="3696489"/>
            <a:ext cx="1145756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32"/>
          <p:cNvSpPr/>
          <p:nvPr/>
        </p:nvSpPr>
        <p:spPr>
          <a:xfrm>
            <a:off x="9033035" y="265158"/>
            <a:ext cx="2846545" cy="3883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en-US" sz="1100" b="1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conomic Research Institute</a:t>
            </a:r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</a:t>
            </a:r>
            <a:r>
              <a:rPr lang="en-US" sz="1100" b="1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JSC</a:t>
            </a:r>
            <a:endParaRPr lang="ru-RU" sz="1100" b="1" dirty="0">
              <a:solidFill>
                <a:schemeClr val="accent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4172096" y="265158"/>
            <a:ext cx="3276108" cy="3883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b="1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inistry of National Economy of the Republic of Kazakhstan</a:t>
            </a:r>
            <a:endParaRPr lang="ru-RU" sz="1100" b="1" dirty="0">
              <a:solidFill>
                <a:schemeClr val="accent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15349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5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2900" y="227116"/>
            <a:ext cx="1528285" cy="464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29711" y="227116"/>
            <a:ext cx="442384" cy="464393"/>
          </a:xfrm>
          <a:prstGeom prst="rect">
            <a:avLst/>
          </a:prstGeom>
        </p:spPr>
      </p:pic>
      <p:pic>
        <p:nvPicPr>
          <p:cNvPr id="7" name="Рисунок 2" descr="Описание: cid:image001.png@01D63842.54213DF0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8982" y="226969"/>
            <a:ext cx="554052" cy="4646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Прямая соединительная линия 8"/>
          <p:cNvCxnSpPr/>
          <p:nvPr/>
        </p:nvCxnSpPr>
        <p:spPr>
          <a:xfrm>
            <a:off x="0" y="914400"/>
            <a:ext cx="12192000" cy="0"/>
          </a:xfrm>
          <a:prstGeom prst="line">
            <a:avLst/>
          </a:prstGeom>
          <a:ln w="2857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9"/>
          <p:cNvSpPr/>
          <p:nvPr/>
        </p:nvSpPr>
        <p:spPr>
          <a:xfrm>
            <a:off x="389313" y="1237220"/>
            <a:ext cx="11413375" cy="4784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</a:t>
            </a:r>
            <a:r>
              <a:rPr lang="en-US" sz="2400" b="1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chanism </a:t>
            </a:r>
            <a:r>
              <a:rPr lang="en-US" sz="2400" b="1" dirty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 lodging</a:t>
            </a:r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400" b="1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d complaint handling procedure</a:t>
            </a:r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400" b="1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 violations OECD Guidelines for Multinational Enterprises</a:t>
            </a:r>
            <a:endParaRPr lang="ru-RU" sz="2400" dirty="0">
              <a:solidFill>
                <a:schemeClr val="accent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784764" y="2296628"/>
            <a:ext cx="1911927" cy="89313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NE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en-US" sz="14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r>
              <a:rPr lang="en-US" sz="12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ficial website</a:t>
            </a:r>
            <a:endParaRPr lang="ru-RU" sz="1200" i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784764" y="3365429"/>
            <a:ext cx="1911927" cy="98256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CP </a:t>
            </a:r>
            <a:r>
              <a:rPr lang="en-US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cretariat</a:t>
            </a:r>
          </a:p>
          <a:p>
            <a:pPr algn="ctr"/>
            <a:r>
              <a:rPr lang="en-US" sz="12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hancellery</a:t>
            </a:r>
            <a:endParaRPr lang="ru-RU" sz="1200" i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784764" y="4501111"/>
            <a:ext cx="1911927" cy="89313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ll-center</a:t>
            </a:r>
            <a:endParaRPr lang="ru-RU" sz="1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61507" y="3365429"/>
            <a:ext cx="1637415" cy="98256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mplainant</a:t>
            </a:r>
            <a:r>
              <a:rPr lang="ru-RU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algn="ctr"/>
            <a:r>
              <a:rPr lang="en-US" sz="1200" i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ne </a:t>
            </a:r>
            <a:r>
              <a:rPr lang="en-US" sz="12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f the three ways</a:t>
            </a:r>
            <a:endParaRPr lang="ru-RU" sz="1200" i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178893" y="3365429"/>
            <a:ext cx="1834214" cy="98256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CP Secretariat</a:t>
            </a:r>
          </a:p>
          <a:p>
            <a:pPr algn="ctr"/>
            <a:r>
              <a:rPr lang="en-US" sz="12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eliminary assessment</a:t>
            </a:r>
            <a:endParaRPr lang="ru-RU" sz="1200" i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7448204" y="3365429"/>
            <a:ext cx="1972021" cy="98256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NE </a:t>
            </a:r>
          </a:p>
          <a:p>
            <a:pPr algn="ctr"/>
            <a:r>
              <a:rPr lang="en-US" sz="10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sideration of the complaint</a:t>
            </a:r>
            <a:r>
              <a:rPr lang="ru-RU" sz="1000" i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</a:p>
          <a:p>
            <a:pPr marL="108000" indent="-108000">
              <a:buFontTx/>
              <a:buChar char="-"/>
            </a:pPr>
            <a:r>
              <a:rPr lang="en-US" sz="1000" i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egotiations with the </a:t>
            </a:r>
            <a:r>
              <a:rPr lang="en-US" sz="1000" i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rties</a:t>
            </a:r>
            <a:endParaRPr lang="ru-RU" sz="1000" i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08000" indent="-108000">
              <a:buFontTx/>
              <a:buChar char="-"/>
            </a:pPr>
            <a:r>
              <a:rPr lang="en-US" sz="1000" i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ediation</a:t>
            </a:r>
            <a:r>
              <a:rPr lang="ru-RU" sz="10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1000" i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9821645" y="3365429"/>
            <a:ext cx="2065555" cy="98256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NCP Working group</a:t>
            </a:r>
            <a:endParaRPr lang="ru-RU" sz="1400" b="1" dirty="0" smtClean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lvl="0" algn="ctr"/>
            <a:r>
              <a:rPr lang="en-US" sz="1000" i="1" dirty="0">
                <a:solidFill>
                  <a:prstClr val="white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mation of conclusion</a:t>
            </a:r>
            <a:endParaRPr lang="ru-RU" sz="1200" i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61507" y="5485686"/>
            <a:ext cx="1637415" cy="893135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400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efendant</a:t>
            </a:r>
            <a:endParaRPr lang="ru-RU" sz="1200" i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9" name="Стрелка вправо 18"/>
          <p:cNvSpPr/>
          <p:nvPr/>
        </p:nvSpPr>
        <p:spPr>
          <a:xfrm>
            <a:off x="2258807" y="3674225"/>
            <a:ext cx="266071" cy="332510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Стрелка вправо 19"/>
          <p:cNvSpPr/>
          <p:nvPr/>
        </p:nvSpPr>
        <p:spPr>
          <a:xfrm>
            <a:off x="4810849" y="3674225"/>
            <a:ext cx="266071" cy="332510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Стрелка вправо 20"/>
          <p:cNvSpPr/>
          <p:nvPr/>
        </p:nvSpPr>
        <p:spPr>
          <a:xfrm>
            <a:off x="7119015" y="3674225"/>
            <a:ext cx="266071" cy="332510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Стрелка вправо 21"/>
          <p:cNvSpPr/>
          <p:nvPr/>
        </p:nvSpPr>
        <p:spPr>
          <a:xfrm>
            <a:off x="9507949" y="3674225"/>
            <a:ext cx="266071" cy="332510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Стрелка вправо 22"/>
          <p:cNvSpPr/>
          <p:nvPr/>
        </p:nvSpPr>
        <p:spPr>
          <a:xfrm rot="19360367">
            <a:off x="2211185" y="2810896"/>
            <a:ext cx="266071" cy="332510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Стрелка вправо 23"/>
          <p:cNvSpPr/>
          <p:nvPr/>
        </p:nvSpPr>
        <p:spPr>
          <a:xfrm rot="2202875">
            <a:off x="2211185" y="4568551"/>
            <a:ext cx="266071" cy="332510"/>
          </a:xfrm>
          <a:prstGeom prst="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0" name="Соединительная линия уступом 29"/>
          <p:cNvCxnSpPr>
            <a:stCxn id="17" idx="2"/>
            <a:endCxn id="18" idx="3"/>
          </p:cNvCxnSpPr>
          <p:nvPr/>
        </p:nvCxnSpPr>
        <p:spPr>
          <a:xfrm rot="5400000">
            <a:off x="5634543" y="712373"/>
            <a:ext cx="1584261" cy="8855501"/>
          </a:xfrm>
          <a:prstGeom prst="bentConnector2">
            <a:avLst/>
          </a:prstGeom>
          <a:ln w="5715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Прямая со стрелкой 31"/>
          <p:cNvCxnSpPr>
            <a:endCxn id="14" idx="2"/>
          </p:cNvCxnSpPr>
          <p:nvPr/>
        </p:nvCxnSpPr>
        <p:spPr>
          <a:xfrm flipH="1" flipV="1">
            <a:off x="1180215" y="4347993"/>
            <a:ext cx="1604549" cy="1584260"/>
          </a:xfrm>
          <a:prstGeom prst="straightConnector1">
            <a:avLst/>
          </a:prstGeom>
          <a:ln w="57150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5425923" y="5505963"/>
            <a:ext cx="144462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onclusion</a:t>
            </a:r>
            <a:endParaRPr lang="ru-RU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4153046" y="236583"/>
            <a:ext cx="3276108" cy="3883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100" b="1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Ministry of National Economy of the Republic of Kazakhstan</a:t>
            </a:r>
            <a:endParaRPr lang="ru-RU" sz="1100" b="1" dirty="0">
              <a:solidFill>
                <a:schemeClr val="accent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8937785" y="265158"/>
            <a:ext cx="2846545" cy="38830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</a:t>
            </a:r>
            <a:r>
              <a:rPr lang="en-US" sz="1100" b="1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conomic Research Institute</a:t>
            </a:r>
            <a:r>
              <a:rPr lang="ru-RU" sz="1100" b="1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</a:t>
            </a:r>
            <a:r>
              <a:rPr lang="en-US" sz="1100" b="1" dirty="0" smtClean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JSC</a:t>
            </a:r>
            <a:endParaRPr lang="ru-RU" sz="1100" b="1" dirty="0">
              <a:solidFill>
                <a:schemeClr val="accent1">
                  <a:lumMod val="5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22611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inistry of National Economy of Kazakhstan Template">
  <a:themeElements>
    <a:clrScheme name="Current">
      <a:dk1>
        <a:srgbClr val="000000"/>
      </a:dk1>
      <a:lt1>
        <a:srgbClr val="FFFFFF"/>
      </a:lt1>
      <a:dk2>
        <a:srgbClr val="00457E"/>
      </a:dk2>
      <a:lt2>
        <a:srgbClr val="FFFFFF"/>
      </a:lt2>
      <a:accent1>
        <a:srgbClr val="E1E1E1"/>
      </a:accent1>
      <a:accent2>
        <a:srgbClr val="2DBDEF"/>
      </a:accent2>
      <a:accent3>
        <a:srgbClr val="0070CE"/>
      </a:accent3>
      <a:accent4>
        <a:srgbClr val="00457E"/>
      </a:accent4>
      <a:accent5>
        <a:srgbClr val="F9C61B"/>
      </a:accent5>
      <a:accent6>
        <a:srgbClr val="808080"/>
      </a:accent6>
      <a:hlink>
        <a:srgbClr val="0070CE"/>
      </a:hlink>
      <a:folHlink>
        <a:srgbClr val="00457E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457E"/>
        </a:dk2>
        <a:lt2>
          <a:srgbClr val="FFFFFF"/>
        </a:lt2>
        <a:accent1>
          <a:srgbClr val="E1E1E1"/>
        </a:accent1>
        <a:accent2>
          <a:srgbClr val="2DBDEF"/>
        </a:accent2>
        <a:accent3>
          <a:srgbClr val="0070CE"/>
        </a:accent3>
        <a:accent4>
          <a:srgbClr val="00457E"/>
        </a:accent4>
        <a:accent5>
          <a:srgbClr val="F9C61B"/>
        </a:accent5>
        <a:accent6>
          <a:srgbClr val="808080"/>
        </a:accent6>
        <a:hlink>
          <a:srgbClr val="0070CE"/>
        </a:hlink>
        <a:folHlink>
          <a:srgbClr val="00457E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2010 Baseform.potx" id="{2159DD3E-2A1C-4F97-A703-BAFC1D6962B2}" vid="{E96B58C4-C6ED-4B68-9616-32754B0CC414}"/>
    </a:ext>
  </a:extLst>
</a:theme>
</file>

<file path=ppt/theme/theme3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708</TotalTime>
  <Words>459</Words>
  <Application>Microsoft Office PowerPoint</Application>
  <PresentationFormat>Произвольный</PresentationFormat>
  <Paragraphs>63</Paragraphs>
  <Slides>5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9" baseType="lpstr">
      <vt:lpstr>Тема Office</vt:lpstr>
      <vt:lpstr>Ministry of National Economy of Kazakhstan Template</vt:lpstr>
      <vt:lpstr>1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SPecialiST RePack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ОТРУДНИЧЕСТВО КАЗАХСТАНА С ОЭСР</dc:title>
  <dc:creator>PC</dc:creator>
  <cp:lastModifiedBy>Данна Фениловна Гафятуллина</cp:lastModifiedBy>
  <cp:revision>185</cp:revision>
  <dcterms:created xsi:type="dcterms:W3CDTF">2020-02-27T12:13:16Z</dcterms:created>
  <dcterms:modified xsi:type="dcterms:W3CDTF">2020-06-16T04:42:47Z</dcterms:modified>
</cp:coreProperties>
</file>